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8"/>
  </p:notesMasterIdLst>
  <p:sldIdLst>
    <p:sldId id="271" r:id="rId2"/>
    <p:sldId id="277" r:id="rId3"/>
    <p:sldId id="278" r:id="rId4"/>
    <p:sldId id="279" r:id="rId5"/>
    <p:sldId id="280" r:id="rId6"/>
    <p:sldId id="281" r:id="rId7"/>
  </p:sldIdLst>
  <p:sldSz cx="12192000" cy="6858000"/>
  <p:notesSz cx="12192000" cy="6858000"/>
  <p:embeddedFontLst>
    <p:embeddedFont>
      <p:font typeface="Lato Light" panose="020F0502020204030203" pitchFamily="34" charset="0"/>
      <p:regular r:id="rId9"/>
      <p:italic r:id="rId10"/>
    </p:embeddedFont>
    <p:embeddedFont>
      <p:font typeface="Roboto" panose="02000000000000000000" pitchFamily="2" charset="0"/>
      <p:regular r:id="rId11"/>
      <p:bold r:id="rId12"/>
      <p:italic r:id="rId13"/>
      <p:boldItalic r:id="rId14"/>
    </p:embeddedFont>
    <p:embeddedFont>
      <p:font typeface="Supermolot" panose="020B0604020202020204" charset="0"/>
      <p:regular r:id="rId15"/>
      <p:bold r:id="rId16"/>
      <p:italic r:id="rId17"/>
      <p:boldItalic r:id="rId18"/>
    </p:embeddedFont>
    <p:embeddedFont>
      <p:font typeface="Wingdings 2" panose="05020102010507070707" pitchFamily="18" charset="2"/>
      <p:regular r:id="rId19"/>
    </p:embeddedFont>
  </p:embeddedFontLst>
  <p:defaultTextStyle>
    <a:defPPr>
      <a:defRPr lang="en-US"/>
    </a:defPPr>
    <a:lvl1pPr marL="0" algn="l" defTabSz="521372">
      <a:defRPr sz="2050">
        <a:solidFill>
          <a:schemeClr val="tx1"/>
        </a:solidFill>
        <a:latin typeface="+mn-lt"/>
        <a:ea typeface="+mn-ea"/>
        <a:cs typeface="+mn-cs"/>
      </a:defRPr>
    </a:lvl1pPr>
    <a:lvl2pPr marL="521372" algn="l" defTabSz="521372">
      <a:defRPr sz="2050">
        <a:solidFill>
          <a:schemeClr val="tx1"/>
        </a:solidFill>
        <a:latin typeface="+mn-lt"/>
        <a:ea typeface="+mn-ea"/>
        <a:cs typeface="+mn-cs"/>
      </a:defRPr>
    </a:lvl2pPr>
    <a:lvl3pPr marL="1042744" algn="l" defTabSz="521372">
      <a:defRPr sz="2050">
        <a:solidFill>
          <a:schemeClr val="tx1"/>
        </a:solidFill>
        <a:latin typeface="+mn-lt"/>
        <a:ea typeface="+mn-ea"/>
        <a:cs typeface="+mn-cs"/>
      </a:defRPr>
    </a:lvl3pPr>
    <a:lvl4pPr marL="1564117" algn="l" defTabSz="521372">
      <a:defRPr sz="2050">
        <a:solidFill>
          <a:schemeClr val="tx1"/>
        </a:solidFill>
        <a:latin typeface="+mn-lt"/>
        <a:ea typeface="+mn-ea"/>
        <a:cs typeface="+mn-cs"/>
      </a:defRPr>
    </a:lvl4pPr>
    <a:lvl5pPr marL="2085489" algn="l" defTabSz="521372">
      <a:defRPr sz="2050">
        <a:solidFill>
          <a:schemeClr val="tx1"/>
        </a:solidFill>
        <a:latin typeface="+mn-lt"/>
        <a:ea typeface="+mn-ea"/>
        <a:cs typeface="+mn-cs"/>
      </a:defRPr>
    </a:lvl5pPr>
    <a:lvl6pPr marL="2606860" algn="l" defTabSz="521372">
      <a:defRPr sz="2050">
        <a:solidFill>
          <a:schemeClr val="tx1"/>
        </a:solidFill>
        <a:latin typeface="+mn-lt"/>
        <a:ea typeface="+mn-ea"/>
        <a:cs typeface="+mn-cs"/>
      </a:defRPr>
    </a:lvl6pPr>
    <a:lvl7pPr marL="3128233" algn="l" defTabSz="521372">
      <a:defRPr sz="2050">
        <a:solidFill>
          <a:schemeClr val="tx1"/>
        </a:solidFill>
        <a:latin typeface="+mn-lt"/>
        <a:ea typeface="+mn-ea"/>
        <a:cs typeface="+mn-cs"/>
      </a:defRPr>
    </a:lvl7pPr>
    <a:lvl8pPr marL="3649605" algn="l" defTabSz="521372">
      <a:defRPr sz="2050">
        <a:solidFill>
          <a:schemeClr val="tx1"/>
        </a:solidFill>
        <a:latin typeface="+mn-lt"/>
        <a:ea typeface="+mn-ea"/>
        <a:cs typeface="+mn-cs"/>
      </a:defRPr>
    </a:lvl8pPr>
    <a:lvl9pPr marL="4170977" algn="l" defTabSz="521372">
      <a:defRPr sz="205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>
          <p15:clr>
            <a:srgbClr val="A4A3A4"/>
          </p15:clr>
        </p15:guide>
        <p15:guide id="3" pos="7680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279" userDrawn="1">
          <p15:clr>
            <a:srgbClr val="A4A3A4"/>
          </p15:clr>
        </p15:guide>
        <p15:guide id="8" pos="7401" userDrawn="1">
          <p15:clr>
            <a:srgbClr val="A4A3A4"/>
          </p15:clr>
        </p15:guide>
        <p15:guide id="14" pos="3205" userDrawn="1">
          <p15:clr>
            <a:srgbClr val="A4A3A4"/>
          </p15:clr>
        </p15:guide>
        <p15:guide id="15" pos="2434" userDrawn="1">
          <p15:clr>
            <a:srgbClr val="A4A3A4"/>
          </p15:clr>
        </p15:guide>
        <p15:guide id="16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846B"/>
    <a:srgbClr val="14508D"/>
    <a:srgbClr val="00B0F0"/>
    <a:srgbClr val="F8F8F8"/>
    <a:srgbClr val="F2F2F2"/>
    <a:srgbClr val="000000"/>
    <a:srgbClr val="A6E8D7"/>
    <a:srgbClr val="D9D9D9"/>
    <a:srgbClr val="DEEBF7"/>
    <a:srgbClr val="FF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2" autoAdjust="0"/>
    <p:restoredTop sz="96395" autoAdjust="0"/>
  </p:normalViewPr>
  <p:slideViewPr>
    <p:cSldViewPr snapToGrid="0" snapToObjects="1">
      <p:cViewPr varScale="1">
        <p:scale>
          <a:sx n="103" d="100"/>
          <a:sy n="103" d="100"/>
        </p:scale>
        <p:origin x="936" y="114"/>
      </p:cViewPr>
      <p:guideLst>
        <p:guide orient="horz" pos="232"/>
        <p:guide pos="7680"/>
        <p:guide pos="3840"/>
        <p:guide pos="279"/>
        <p:guide pos="7401"/>
        <p:guide pos="3205"/>
        <p:guide pos="243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6.xlsx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microsoft.com/office/2011/relationships/chartColorStyle" Target="colors3.xml"/><Relationship Id="rId1" Type="http://schemas.microsoft.com/office/2011/relationships/chartStyle" Target="style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3"/>
          <c:order val="1"/>
          <c:tx>
            <c:strRef>
              <c:f>Лист1!$E$1</c:f>
              <c:strCache>
                <c:ptCount val="1"/>
                <c:pt idx="0">
                  <c:v>Ряд 4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rgbClr val="14508D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9BF9F7A-A429-4FF8-AFB9-78848AD85B2D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3DD-4D0D-B02A-5BCDB56DAE3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4040C90-838A-4990-AD63-F36751E03B9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3DD-4D0D-B02A-5BCDB56DAE3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4350948-0EFD-49DD-AC36-E6ABE005BA3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3DD-4D0D-B02A-5BCDB56DAE3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008DFCA-6409-4EDB-809C-F356607CA72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3DD-4D0D-B02A-5BCDB56DAE3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1C66EF5-8152-4EB1-B530-3DA1A7C3794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3DD-4D0D-B02A-5BCDB56DAE3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C079F08-11C0-4CB4-B7E2-BC23F6CA1AA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3DD-4D0D-B02A-5BCDB56DAE3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FDD6060-FDFC-4498-B9C5-518D8F25F30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3DD-4D0D-B02A-5BCDB56DAE3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3D7BE99-0781-423C-939D-F4490583B43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3DD-4D0D-B02A-5BCDB56DAE3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EDFAFA1-9E95-449D-9468-0D34C9A7596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3DD-4D0D-B02A-5BCDB56DAE3A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A4E3E3E-65A1-403B-9AF2-AB50A0CED5F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3DD-4D0D-B02A-5BCDB56DAE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6000" tIns="19050" rIns="38100" bIns="19050" anchor="ctr" anchorCtr="0">
                <a:spAutoFit/>
              </a:bodyPr>
              <a:lstStyle/>
              <a:p>
                <a:pPr algn="l"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E$2:$E$11</c:f>
              <c:numCache>
                <c:formatCode>General</c:formatCode>
                <c:ptCount val="10"/>
                <c:pt idx="0">
                  <c:v>1</c:v>
                </c:pt>
                <c:pt idx="1">
                  <c:v>9</c:v>
                </c:pt>
                <c:pt idx="2">
                  <c:v>0</c:v>
                </c:pt>
                <c:pt idx="3">
                  <c:v>1</c:v>
                </c:pt>
                <c:pt idx="4">
                  <c:v>6</c:v>
                </c:pt>
                <c:pt idx="5">
                  <c:v>10</c:v>
                </c:pt>
                <c:pt idx="6">
                  <c:v>0</c:v>
                </c:pt>
                <c:pt idx="7">
                  <c:v>3</c:v>
                </c:pt>
                <c:pt idx="8">
                  <c:v>322</c:v>
                </c:pt>
                <c:pt idx="9">
                  <c:v>127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11</c15:f>
                <c15:dlblRangeCache>
                  <c:ptCount val="10"/>
                  <c:pt idx="0">
                    <c:v>4 / 1</c:v>
                  </c:pt>
                  <c:pt idx="1">
                    <c:v>25 / 9</c:v>
                  </c:pt>
                  <c:pt idx="2">
                    <c:v>1 / 0</c:v>
                  </c:pt>
                  <c:pt idx="3">
                    <c:v>2 / 1</c:v>
                  </c:pt>
                  <c:pt idx="4">
                    <c:v>11 / 6</c:v>
                  </c:pt>
                  <c:pt idx="5">
                    <c:v>14 / 10</c:v>
                  </c:pt>
                  <c:pt idx="6">
                    <c:v>14 / 0</c:v>
                  </c:pt>
                  <c:pt idx="7">
                    <c:v>30 / 3</c:v>
                  </c:pt>
                  <c:pt idx="8">
                    <c:v>344 / 241</c:v>
                  </c:pt>
                  <c:pt idx="9">
                    <c:v>2935 / 128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513C-49FA-A2EC-8D76600D16F8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3</c:v>
                </c:pt>
                <c:pt idx="1">
                  <c:v>16</c:v>
                </c:pt>
                <c:pt idx="2">
                  <c:v>1</c:v>
                </c:pt>
                <c:pt idx="3">
                  <c:v>1</c:v>
                </c:pt>
                <c:pt idx="4">
                  <c:v>5</c:v>
                </c:pt>
                <c:pt idx="5">
                  <c:v>4</c:v>
                </c:pt>
                <c:pt idx="6">
                  <c:v>14</c:v>
                </c:pt>
                <c:pt idx="7">
                  <c:v>27</c:v>
                </c:pt>
                <c:pt idx="8">
                  <c:v>103</c:v>
                </c:pt>
                <c:pt idx="9">
                  <c:v>1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3C-49FA-A2EC-8D76600D16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1!$B$1</c15:sqref>
                        </c15:formulaRef>
                      </c:ext>
                    </c:extLst>
                    <c:strCache>
                      <c:ptCount val="1"/>
                      <c:pt idx="0">
                        <c:v>Ряд 1</c:v>
                      </c:pt>
                    </c:strCache>
                  </c:strRef>
                </c:tx>
                <c:spPr>
                  <a:solidFill>
                    <a:srgbClr val="23846B"/>
                  </a:solidFill>
                  <a:ln w="12700">
                    <a:solidFill>
                      <a:srgbClr val="23846B"/>
                    </a:solidFill>
                  </a:ln>
                  <a:effectLst/>
                </c:spPr>
                <c:invertIfNegative val="0"/>
                <c:dLbls>
                  <c:dLbl>
                    <c:idx val="0"/>
                    <c:tx>
                      <c:rich>
                        <a:bodyPr/>
                        <a:lstStyle/>
                        <a:p>
                          <a:fld id="{4AB4CF44-3ED9-4332-88D3-8BDF749EB8DB}" type="CELLRANGE">
                            <a:rPr lang="en-US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0-513C-49FA-A2EC-8D76600D16F8}"/>
                      </c:ext>
                    </c:extLst>
                  </c:dLbl>
                  <c:dLbl>
                    <c:idx val="1"/>
                    <c:tx>
                      <c:rich>
                        <a:bodyPr/>
                        <a:lstStyle/>
                        <a:p>
                          <a:fld id="{FE8620B7-4248-4FBD-A8C6-C55A4FE2A4B2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1-513C-49FA-A2EC-8D76600D16F8}"/>
                      </c:ext>
                    </c:extLst>
                  </c:dLbl>
                  <c:dLbl>
                    <c:idx val="2"/>
                    <c:tx>
                      <c:rich>
                        <a:bodyPr/>
                        <a:lstStyle/>
                        <a:p>
                          <a:fld id="{8B621A00-6CFC-485B-85F9-1F5166B1AB31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2-513C-49FA-A2EC-8D76600D16F8}"/>
                      </c:ext>
                    </c:extLst>
                  </c:dLbl>
                  <c:dLbl>
                    <c:idx val="3"/>
                    <c:tx>
                      <c:rich>
                        <a:bodyPr/>
                        <a:lstStyle/>
                        <a:p>
                          <a:fld id="{F44EF7A5-FBDD-473A-8D80-A0CD5EAE9E3E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3-513C-49FA-A2EC-8D76600D16F8}"/>
                      </c:ext>
                    </c:extLst>
                  </c:dLbl>
                  <c:dLbl>
                    <c:idx val="4"/>
                    <c:tx>
                      <c:rich>
                        <a:bodyPr/>
                        <a:lstStyle/>
                        <a:p>
                          <a:fld id="{36B4ACD3-5F5E-4D31-9602-651B5FFD3338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4-513C-49FA-A2EC-8D76600D16F8}"/>
                      </c:ext>
                    </c:extLst>
                  </c:dLbl>
                  <c:dLbl>
                    <c:idx val="5"/>
                    <c:tx>
                      <c:rich>
                        <a:bodyPr/>
                        <a:lstStyle/>
                        <a:p>
                          <a:fld id="{63D538E2-A6BC-491B-91BD-C2BD2881E61B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A-B3DD-4D0D-B02A-5BCDB56DAE3A}"/>
                      </c:ext>
                    </c:extLst>
                  </c:dLbl>
                  <c:dLbl>
                    <c:idx val="6"/>
                    <c:tx>
                      <c:rich>
                        <a:bodyPr/>
                        <a:lstStyle/>
                        <a:p>
                          <a:fld id="{7BC7FFB4-E4A3-44D2-B57F-78EAB23D0B97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B-B3DD-4D0D-B02A-5BCDB56DAE3A}"/>
                      </c:ext>
                    </c:extLst>
                  </c:dLbl>
                  <c:dLbl>
                    <c:idx val="7"/>
                    <c:tx>
                      <c:rich>
                        <a:bodyPr/>
                        <a:lstStyle/>
                        <a:p>
                          <a:fld id="{3312B9D3-9EF1-4E06-9CB1-C940EC545DAE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C-B3DD-4D0D-B02A-5BCDB56DAE3A}"/>
                      </c:ext>
                    </c:extLst>
                  </c:dLbl>
                  <c:dLbl>
                    <c:idx val="8"/>
                    <c:tx>
                      <c:rich>
                        <a:bodyPr/>
                        <a:lstStyle/>
                        <a:p>
                          <a:fld id="{18D6E8BD-4EFF-4B1D-B5A9-AFDC1457BE75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D-B3DD-4D0D-B02A-5BCDB56DAE3A}"/>
                      </c:ext>
                    </c:extLst>
                  </c:dLbl>
                  <c:dLbl>
                    <c:idx val="9"/>
                    <c:tx>
                      <c:rich>
                        <a:bodyPr/>
                        <a:lstStyle/>
                        <a:p>
                          <a:fld id="{C77A7B96-195B-40E5-B195-55E017C5AC56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E-B3DD-4D0D-B02A-5BCDB56DAE3A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non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inBase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pPr xmlns:c15="http://schemas.microsoft.com/office/drawing/2012/chart">
                        <a:prstGeom prst="rect">
                          <a:avLst/>
                        </a:prstGeom>
                      </c15:spPr>
                      <c15:showDataLabelsRange val="1"/>
                      <c15:showLeaderLines val="0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B$2:$B$1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</c:v>
                      </c:pt>
                      <c:pt idx="1">
                        <c:v>9</c:v>
                      </c:pt>
                      <c:pt idx="2">
                        <c:v>0</c:v>
                      </c:pt>
                      <c:pt idx="3">
                        <c:v>1</c:v>
                      </c:pt>
                      <c:pt idx="4">
                        <c:v>6</c:v>
                      </c:pt>
                      <c:pt idx="5">
                        <c:v>10</c:v>
                      </c:pt>
                      <c:pt idx="6">
                        <c:v>0</c:v>
                      </c:pt>
                      <c:pt idx="7">
                        <c:v>3</c:v>
                      </c:pt>
                      <c:pt idx="8">
                        <c:v>241</c:v>
                      </c:pt>
                      <c:pt idx="9">
                        <c:v>1281</c:v>
                      </c:pt>
                    </c:numCache>
                  </c:numRef>
                </c:val>
                <c:extLst>
                  <c:ext uri="{02D57815-91ED-43cb-92C2-25804820EDAC}">
                    <c15:datalabelsRange>
                      <c15:f>Лист1!$D$2:$D$11</c15:f>
                      <c15:dlblRangeCache>
                        <c:ptCount val="10"/>
                        <c:pt idx="0">
                          <c:v>4 / 1</c:v>
                        </c:pt>
                        <c:pt idx="1">
                          <c:v>25 / 9</c:v>
                        </c:pt>
                        <c:pt idx="2">
                          <c:v>1 / 0</c:v>
                        </c:pt>
                        <c:pt idx="3">
                          <c:v>2 / 1</c:v>
                        </c:pt>
                        <c:pt idx="4">
                          <c:v>11 / 6</c:v>
                        </c:pt>
                        <c:pt idx="5">
                          <c:v>14 / 10</c:v>
                        </c:pt>
                        <c:pt idx="6">
                          <c:v>14 / 0</c:v>
                        </c:pt>
                        <c:pt idx="7">
                          <c:v>30 / 3</c:v>
                        </c:pt>
                        <c:pt idx="8">
                          <c:v>344 / 241</c:v>
                        </c:pt>
                        <c:pt idx="9">
                          <c:v>2935 / 1281</c:v>
                        </c:pt>
                      </c15:dlblRangeCache>
                    </c15:datalabelsRange>
                  </c:ext>
                  <c:ext xmlns:c16="http://schemas.microsoft.com/office/drawing/2014/chart" uri="{C3380CC4-5D6E-409C-BE32-E72D297353CC}">
                    <c16:uniqueId val="{00000005-513C-49FA-A2EC-8D76600D16F8}"/>
                  </c:ext>
                </c:extLst>
              </c15:ser>
            </c15:filteredBarSeries>
            <c15:filteredBarSeries>
              <c15:ser>
                <c:idx val="2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2:$D$1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13C-49FA-A2EC-8D76600D16F8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rgbClr val="23846B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C88E670-3D31-4F00-B2F9-D4C7E43F172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28D8-43F7-9B6C-1F0E7398A8B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C7710B6-F40D-4178-A863-7B8433BCAEE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8D8-43F7-9B6C-1F0E7398A8B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5FBF9A5-BB45-424B-8E33-C95D0DC789A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8D8-43F7-9B6C-1F0E7398A8B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9EBA62A-A56F-4D96-858D-9565364D8BD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8D8-43F7-9B6C-1F0E7398A8B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A784A42-ED31-4125-A637-8E52AC669FF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8D8-43F7-9B6C-1F0E7398A8B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B151D43-1CA5-481D-9770-50C46D2DA18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8D8-43F7-9B6C-1F0E7398A8B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1E70F21-364E-447A-9E59-6B315157CDF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8D8-43F7-9B6C-1F0E7398A8B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874AF24-238B-400C-AAC9-D8885444700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8D8-43F7-9B6C-1F0E7398A8B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AE059B5-C529-44C6-88A7-84777048F32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8D8-43F7-9B6C-1F0E7398A8B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2D35696B-E24D-41E0-ADA5-CA898FAEC29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8D8-43F7-9B6C-1F0E7398A8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5</c:v>
                </c:pt>
                <c:pt idx="2">
                  <c:v>1</c:v>
                </c:pt>
                <c:pt idx="3">
                  <c:v>2</c:v>
                </c:pt>
                <c:pt idx="4">
                  <c:v>11</c:v>
                </c:pt>
                <c:pt idx="5">
                  <c:v>14</c:v>
                </c:pt>
                <c:pt idx="6">
                  <c:v>14</c:v>
                </c:pt>
                <c:pt idx="7">
                  <c:v>27</c:v>
                </c:pt>
                <c:pt idx="8">
                  <c:v>299</c:v>
                </c:pt>
                <c:pt idx="9">
                  <c:v>174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11</c15:f>
                <c15:dlblRangeCache>
                  <c:ptCount val="10"/>
                  <c:pt idx="0">
                    <c:v>4 / 4</c:v>
                  </c:pt>
                  <c:pt idx="1">
                    <c:v>25 / 15</c:v>
                  </c:pt>
                  <c:pt idx="2">
                    <c:v>1 / 1</c:v>
                  </c:pt>
                  <c:pt idx="3">
                    <c:v>2 / 2</c:v>
                  </c:pt>
                  <c:pt idx="4">
                    <c:v>11 / 11</c:v>
                  </c:pt>
                  <c:pt idx="5">
                    <c:v>14 / 14</c:v>
                  </c:pt>
                  <c:pt idx="6">
                    <c:v>14 / 14</c:v>
                  </c:pt>
                  <c:pt idx="7">
                    <c:v>30 / 27</c:v>
                  </c:pt>
                  <c:pt idx="8">
                    <c:v>344 / 299</c:v>
                  </c:pt>
                  <c:pt idx="9">
                    <c:v>2935 / 174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28D8-43F7-9B6C-1F0E7398A8B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1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45</c:v>
                </c:pt>
                <c:pt idx="9">
                  <c:v>1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8D8-43F7-9B6C-1F0E7398A8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D$2:$D$1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C-28D8-43F7-9B6C-1F0E7398A8B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E$1</c15:sqref>
                        </c15:formulaRef>
                      </c:ext>
                    </c:extLst>
                    <c:strCache>
                      <c:ptCount val="1"/>
                      <c:pt idx="0">
                        <c:v>Ряд 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E$2:$E$1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4</c:v>
                      </c:pt>
                      <c:pt idx="1">
                        <c:v>15</c:v>
                      </c:pt>
                      <c:pt idx="2">
                        <c:v>1</c:v>
                      </c:pt>
                      <c:pt idx="3">
                        <c:v>2</c:v>
                      </c:pt>
                      <c:pt idx="4">
                        <c:v>11</c:v>
                      </c:pt>
                      <c:pt idx="5">
                        <c:v>14</c:v>
                      </c:pt>
                      <c:pt idx="6">
                        <c:v>14</c:v>
                      </c:pt>
                      <c:pt idx="7">
                        <c:v>27</c:v>
                      </c:pt>
                      <c:pt idx="8">
                        <c:v>380</c:v>
                      </c:pt>
                      <c:pt idx="9">
                        <c:v>173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8D8-43F7-9B6C-1F0E7398A8B4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rgbClr val="23846B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5A3261E-0B0F-4EA9-A9C2-5C621C00DA2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28D8-43F7-9B6C-1F0E7398A8B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112BF6F-57D8-4F7E-8FDA-A3D1028BACC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8D8-43F7-9B6C-1F0E7398A8B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EC614E3-4209-4B0E-83DD-F2507F8D998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8D8-43F7-9B6C-1F0E7398A8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555</c:v>
                </c:pt>
                <c:pt idx="1">
                  <c:v>0</c:v>
                </c:pt>
                <c:pt idx="2">
                  <c:v>911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4</c15:f>
                <c15:dlblRangeCache>
                  <c:ptCount val="3"/>
                  <c:pt idx="0">
                    <c:v>3014 / 2555 (ед.)</c:v>
                  </c:pt>
                  <c:pt idx="1">
                    <c:v>3100 / 0 (млн. руб.)</c:v>
                  </c:pt>
                  <c:pt idx="2">
                    <c:v>8614 / 9118 (млн. руб.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28D8-43F7-9B6C-1F0E7398A8B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59</c:v>
                </c:pt>
                <c:pt idx="1">
                  <c:v>310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8D8-43F7-9B6C-1F0E7398A8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4</c15:sqref>
                        </c15:formulaRef>
                      </c:ext>
                    </c:extLst>
                    <c:strCache>
                      <c:ptCount val="3"/>
                      <c:pt idx="0">
                        <c:v>БАС</c:v>
                      </c:pt>
                      <c:pt idx="1">
                        <c:v>3696-р</c:v>
                      </c:pt>
                      <c:pt idx="2">
                        <c:v>ФЦ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D$2:$D$4</c15:sqref>
                        </c15:formulaRef>
                      </c:ext>
                    </c:extLst>
                    <c:numCache>
                      <c:formatCode>@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C-28D8-43F7-9B6C-1F0E7398A8B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E$1</c15:sqref>
                        </c15:formulaRef>
                      </c:ext>
                    </c:extLst>
                    <c:strCache>
                      <c:ptCount val="1"/>
                      <c:pt idx="0">
                        <c:v>Ряд 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4</c15:sqref>
                        </c15:formulaRef>
                      </c:ext>
                    </c:extLst>
                    <c:strCache>
                      <c:ptCount val="3"/>
                      <c:pt idx="0">
                        <c:v>БАС</c:v>
                      </c:pt>
                      <c:pt idx="1">
                        <c:v>3696-р</c:v>
                      </c:pt>
                      <c:pt idx="2">
                        <c:v>ФЦ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E$2:$E$4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544</c:v>
                      </c:pt>
                      <c:pt idx="1">
                        <c:v>0</c:v>
                      </c:pt>
                      <c:pt idx="2">
                        <c:v>911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8D8-43F7-9B6C-1F0E7398A8B4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rgbClr val="14508D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AB4CF44-3ED9-4332-88D3-8BDF749EB8DB}" type="CELLRANGE">
                      <a:rPr lang="en-US" b="0">
                        <a:solidFill>
                          <a:schemeClr val="tx1"/>
                        </a:solidFill>
                      </a:rPr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9FE-4A68-A34C-B96BD8EDC1C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7E9A7EB-A012-4E59-8824-0438F364826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E9FE-4A68-A34C-B96BD8EDC1C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22890C5-54CE-4EBD-AF9C-A8D283640C7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E9FE-4A68-A34C-B96BD8EDC1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5</c:v>
                </c:pt>
                <c:pt idx="1">
                  <c:v>0</c:v>
                </c:pt>
                <c:pt idx="2">
                  <c:v>9118</c:v>
                </c:pt>
              </c:numCache>
            </c:numRef>
          </c:val>
          <c:extLst xmlns:c15="http://schemas.microsoft.com/office/drawing/2012/chart">
            <c:ext xmlns:c15="http://schemas.microsoft.com/office/drawing/2012/chart" uri="{02D57815-91ED-43cb-92C2-25804820EDAC}">
              <c15:datalabelsRange>
                <c15:f>Лист1!$D$2:$D$4</c15:f>
                <c15:dlblRangeCache>
                  <c:ptCount val="3"/>
                  <c:pt idx="0">
                    <c:v>3014 / 25</c:v>
                  </c:pt>
                  <c:pt idx="1">
                    <c:v>3100 / 0</c:v>
                  </c:pt>
                  <c:pt idx="2">
                    <c:v>8614 / 911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6-E9FE-4A68-A34C-B96BD8EDC1C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989</c:v>
                </c:pt>
                <c:pt idx="1">
                  <c:v>310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9FE-4A68-A34C-B96BD8EDC1C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D$2:$D$4</c:f>
              <c:numCache>
                <c:formatCode>@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7-E9FE-4A68-A34C-B96BD8EDC1C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/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снова</c:v>
                </c:pt>
              </c:strCache>
            </c:strRef>
          </c:tx>
          <c:spPr>
            <a:solidFill>
              <a:srgbClr val="14508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Лист1!$B$2:$B$16</c:f>
              <c:numCache>
                <c:formatCode>0.00%</c:formatCode>
                <c:ptCount val="15"/>
                <c:pt idx="0">
                  <c:v>0</c:v>
                </c:pt>
                <c:pt idx="1">
                  <c:v>1E-3</c:v>
                </c:pt>
                <c:pt idx="2">
                  <c:v>2E-3</c:v>
                </c:pt>
                <c:pt idx="3">
                  <c:v>0.01</c:v>
                </c:pt>
                <c:pt idx="4">
                  <c:v>0.02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1.4999999999999999E-2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5</c:v>
                </c:pt>
                <c:pt idx="13">
                  <c:v>7.0000000000000007E-2</c:v>
                </c:pt>
                <c:pt idx="1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81-45B3-9D8F-9C1A01B3FF8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зница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5481-45B3-9D8F-9C1A01B3FF8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A01DF95-F664-4044-AC99-8D2BC1C907C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5481-45B3-9D8F-9C1A01B3FF81}"/>
                </c:ext>
              </c:extLst>
            </c:dLbl>
            <c:dLbl>
              <c:idx val="2"/>
              <c:layout>
                <c:manualLayout>
                  <c:x val="-2.2238107974769379E-3"/>
                  <c:y val="-4.0470428902896954E-2"/>
                </c:manualLayout>
              </c:layout>
              <c:tx>
                <c:rich>
                  <a:bodyPr/>
                  <a:lstStyle/>
                  <a:p>
                    <a:fld id="{D079912A-005C-4DF0-9A7E-152C66B3AC1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5481-45B3-9D8F-9C1A01B3FF81}"/>
                </c:ext>
              </c:extLst>
            </c:dLbl>
            <c:dLbl>
              <c:idx val="3"/>
              <c:layout>
                <c:manualLayout>
                  <c:x val="1.1119053987384689E-3"/>
                  <c:y val="-5.5646839741483184E-2"/>
                </c:manualLayout>
              </c:layout>
              <c:tx>
                <c:rich>
                  <a:bodyPr/>
                  <a:lstStyle/>
                  <a:p>
                    <a:fld id="{57939D31-74FC-4998-BFCD-BDBA2F42AE63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5481-45B3-9D8F-9C1A01B3FF8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54D25AC-8A42-4938-848C-390F2CD13A9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5481-45B3-9D8F-9C1A01B3FF8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9062D0C-8A75-439E-AC98-EF89A8463291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5481-45B3-9D8F-9C1A01B3FF8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8EB2FF4-1D6D-4F91-8A96-FCAA7319837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5481-45B3-9D8F-9C1A01B3FF81}"/>
                </c:ext>
              </c:extLst>
            </c:dLbl>
            <c:dLbl>
              <c:idx val="7"/>
              <c:tx>
                <c:rich>
                  <a:bodyPr rot="-540000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D951C9D-957F-4F5D-B368-5890EFE76D3A}" type="CELLRANGE">
                      <a:rPr lang="en-US"/>
                      <a:pPr>
                        <a:defRPr sz="900">
                          <a:solidFill>
                            <a:srgbClr val="C00000"/>
                          </a:solidFill>
                        </a:defRPr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-540000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481-45B3-9D8F-9C1A01B3FF81}"/>
                </c:ext>
              </c:extLst>
            </c:dLbl>
            <c:dLbl>
              <c:idx val="8"/>
              <c:layout>
                <c:manualLayout>
                  <c:x val="0"/>
                  <c:y val="-0.1315288939344148"/>
                </c:manualLayout>
              </c:layout>
              <c:tx>
                <c:rich>
                  <a:bodyPr/>
                  <a:lstStyle/>
                  <a:p>
                    <a:fld id="{87E0DA86-002C-4B83-867E-06E74290424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481-45B3-9D8F-9C1A01B3FF8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604C09E-5FCA-4BB9-A2DB-31591079DA3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5481-45B3-9D8F-9C1A01B3FF8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9C61D5A-38C9-4164-9741-C467FE028AC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5481-45B3-9D8F-9C1A01B3FF81}"/>
                </c:ext>
              </c:extLst>
            </c:dLbl>
            <c:dLbl>
              <c:idx val="11"/>
              <c:layout>
                <c:manualLayout>
                  <c:x val="-1.1119053987384689E-3"/>
                  <c:y val="-4.0470428902896864E-2"/>
                </c:manualLayout>
              </c:layout>
              <c:tx>
                <c:rich>
                  <a:bodyPr/>
                  <a:lstStyle/>
                  <a:p>
                    <a:fld id="{8A203C66-1C87-45AC-A28E-DED998D8E36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481-45B3-9D8F-9C1A01B3FF81}"/>
                </c:ext>
              </c:extLst>
            </c:dLbl>
            <c:dLbl>
              <c:idx val="12"/>
              <c:layout>
                <c:manualLayout>
                  <c:x val="-1.6307757459558441E-16"/>
                  <c:y val="-0.12141128670869059"/>
                </c:manualLayout>
              </c:layout>
              <c:tx>
                <c:rich>
                  <a:bodyPr/>
                  <a:lstStyle/>
                  <a:p>
                    <a:fld id="{D63AA1EA-BFCA-4E2A-B475-D873C2D473F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481-45B3-9D8F-9C1A01B3FF81}"/>
                </c:ext>
              </c:extLst>
            </c:dLbl>
            <c:dLbl>
              <c:idx val="13"/>
              <c:layout>
                <c:manualLayout>
                  <c:x val="0"/>
                  <c:y val="-0.1770581264501738"/>
                </c:manualLayout>
              </c:layout>
              <c:tx>
                <c:rich>
                  <a:bodyPr/>
                  <a:lstStyle/>
                  <a:p>
                    <a:fld id="{35802015-7ADF-4171-8DEA-DAB544A45A9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5481-45B3-9D8F-9C1A01B3FF8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CA63B85-F2CC-4756-8213-3188EB92DAE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5481-45B3-9D8F-9C1A01B3FF81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23846B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errBars>
            <c:errBarType val="both"/>
            <c:errValType val="cust"/>
            <c:noEndCap val="1"/>
            <c:plus>
              <c:numRef>
                <c:f>Лист1!$D$2:$D$16</c:f>
                <c:numCache>
                  <c:formatCode>General</c:formatCode>
                  <c:ptCount val="15"/>
                  <c:pt idx="0">
                    <c:v>1E-3</c:v>
                  </c:pt>
                  <c:pt idx="1">
                    <c:v>1E-3</c:v>
                  </c:pt>
                  <c:pt idx="2">
                    <c:v>8.0000000000000002E-3</c:v>
                  </c:pt>
                  <c:pt idx="3">
                    <c:v>0.01</c:v>
                  </c:pt>
                  <c:pt idx="4">
                    <c:v>#N/A</c:v>
                  </c:pt>
                  <c:pt idx="5">
                    <c:v>#N/A</c:v>
                  </c:pt>
                  <c:pt idx="6">
                    <c:v>#N/A</c:v>
                  </c:pt>
                  <c:pt idx="7">
                    <c:v>#N/A</c:v>
                  </c:pt>
                  <c:pt idx="8">
                    <c:v>2.5000000000000001E-2</c:v>
                  </c:pt>
                  <c:pt idx="9">
                    <c:v>#N/A</c:v>
                  </c:pt>
                  <c:pt idx="10">
                    <c:v>#N/A</c:v>
                  </c:pt>
                  <c:pt idx="11">
                    <c:v>1.0000000000000002E-2</c:v>
                  </c:pt>
                  <c:pt idx="12">
                    <c:v>2.0000000000000004E-2</c:v>
                  </c:pt>
                  <c:pt idx="13">
                    <c:v>0.03</c:v>
                  </c:pt>
                  <c:pt idx="14">
                    <c:v>1.999999999999999E-2</c:v>
                  </c:pt>
                </c:numCache>
              </c:numRef>
            </c:plus>
            <c:minus>
              <c:numRef>
                <c:f>Лист1!$E$2:$E$16</c:f>
                <c:numCache>
                  <c:formatCode>General</c:formatCode>
                  <c:ptCount val="15"/>
                  <c:pt idx="0">
                    <c:v>#N/A</c:v>
                  </c:pt>
                  <c:pt idx="1">
                    <c:v>#N/A</c:v>
                  </c:pt>
                  <c:pt idx="2">
                    <c:v>#N/A</c:v>
                  </c:pt>
                  <c:pt idx="3">
                    <c:v>#N/A</c:v>
                  </c:pt>
                  <c:pt idx="4">
                    <c:v>#N/A</c:v>
                  </c:pt>
                  <c:pt idx="5">
                    <c:v>#N/A</c:v>
                  </c:pt>
                  <c:pt idx="6">
                    <c:v>#N/A</c:v>
                  </c:pt>
                  <c:pt idx="7">
                    <c:v>5.000000000000001E-3</c:v>
                  </c:pt>
                  <c:pt idx="8">
                    <c:v>#N/A</c:v>
                  </c:pt>
                  <c:pt idx="9">
                    <c:v>#N/A</c:v>
                  </c:pt>
                  <c:pt idx="10">
                    <c:v>#N/A</c:v>
                  </c:pt>
                  <c:pt idx="11">
                    <c:v>#N/A</c:v>
                  </c:pt>
                  <c:pt idx="12">
                    <c:v>#N/A</c:v>
                  </c:pt>
                  <c:pt idx="13">
                    <c:v>#N/A</c:v>
                  </c:pt>
                  <c:pt idx="14">
                    <c:v>#N/A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/>
                </a:solidFill>
                <a:round/>
                <a:headEnd type="none"/>
                <a:tailEnd type="triangle"/>
              </a:ln>
              <a:effectLst/>
            </c:spPr>
          </c:errBars>
          <c:cat>
            <c:numRef>
              <c:f>Лист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Лист1!$C$2:$C$16</c:f>
              <c:numCache>
                <c:formatCode>0.00%</c:formatCode>
                <c:ptCount val="15"/>
                <c:pt idx="1">
                  <c:v>1E-3</c:v>
                </c:pt>
                <c:pt idx="2">
                  <c:v>2E-3</c:v>
                </c:pt>
                <c:pt idx="3">
                  <c:v>0.01</c:v>
                </c:pt>
                <c:pt idx="4">
                  <c:v>0.02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1.4999999999999999E-2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5</c:v>
                </c:pt>
                <c:pt idx="13">
                  <c:v>7.0000000000000007E-2</c:v>
                </c:pt>
                <c:pt idx="14">
                  <c:v>0.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F$2:$F$16</c15:f>
                <c15:dlblRangeCache>
                  <c:ptCount val="15"/>
                  <c:pt idx="0">
                    <c:v>0,10%</c:v>
                  </c:pt>
                  <c:pt idx="1">
                    <c:v>0,10%</c:v>
                  </c:pt>
                  <c:pt idx="2">
                    <c:v>0,80%</c:v>
                  </c:pt>
                  <c:pt idx="3">
                    <c:v>1,00%</c:v>
                  </c:pt>
                  <c:pt idx="7">
                    <c:v>-0,50%</c:v>
                  </c:pt>
                  <c:pt idx="8">
                    <c:v>2,50%</c:v>
                  </c:pt>
                  <c:pt idx="11">
                    <c:v>1,00%</c:v>
                  </c:pt>
                  <c:pt idx="12">
                    <c:v>2,00%</c:v>
                  </c:pt>
                  <c:pt idx="13">
                    <c:v>3,00%</c:v>
                  </c:pt>
                  <c:pt idx="14">
                    <c:v>2,0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5481-45B3-9D8F-9C1A01B3FF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284456959"/>
        <c:axId val="1284457919"/>
      </c:barChart>
      <c:catAx>
        <c:axId val="128445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84457919"/>
        <c:crosses val="autoZero"/>
        <c:auto val="1"/>
        <c:lblAlgn val="ctr"/>
        <c:lblOffset val="100"/>
        <c:noMultiLvlLbl val="0"/>
      </c:catAx>
      <c:valAx>
        <c:axId val="1284457919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844569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49299837707794E-3"/>
          <c:w val="0.98630848837499818"/>
          <c:h val="0.99193906263528575"/>
        </c:manualLayout>
      </c:layout>
      <c:bubbleChart>
        <c:varyColors val="0"/>
        <c:ser>
          <c:idx val="2"/>
          <c:order val="0"/>
          <c:tx>
            <c:strRef>
              <c:f>Лист1!$D$1</c:f>
              <c:strCache>
                <c:ptCount val="1"/>
                <c:pt idx="0">
                  <c:v>Общ. Кол-во</c:v>
                </c:pt>
              </c:strCache>
            </c:strRef>
          </c:tx>
          <c:spPr>
            <a:solidFill>
              <a:srgbClr val="14508D"/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4BE0A16-3AC2-44C8-88D4-7A44E627636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2F5-4080-821E-BF77CBE9791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293FA1B-FE99-4242-B4C1-5D5919B8DA6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2F5-4080-821E-BF77CBE9791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0FFA45-67C5-4DF6-8FC9-C642ABC0460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2F5-4080-821E-BF77CBE9791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8AECA6E-68A3-4122-8DB4-5FDA43EF97B6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2F5-4080-821E-BF77CBE9791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3882468-F193-47B0-85DD-AA43F60B959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2F5-4080-821E-BF77CBE979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2746365-DE4E-4D00-B9C2-346B23ABAF5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2F5-4080-821E-BF77CBE9791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05EF45B-B638-4A2F-81D5-EB52751D1A60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2F5-4080-821E-BF77CBE9791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91C0055-73FC-4BAB-B8DC-243FFC733640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2F5-4080-821E-BF77CBE97912}"/>
                </c:ext>
              </c:extLst>
            </c:dLbl>
            <c:spPr>
              <a:solidFill>
                <a:schemeClr val="lt1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:$B$9</c:f>
              <c:numCache>
                <c:formatCode>General</c:formatCode>
                <c:ptCount val="8"/>
                <c:pt idx="0">
                  <c:v>8</c:v>
                </c:pt>
                <c:pt idx="1">
                  <c:v>11</c:v>
                </c:pt>
                <c:pt idx="2">
                  <c:v>13</c:v>
                </c:pt>
                <c:pt idx="3">
                  <c:v>21</c:v>
                </c:pt>
                <c:pt idx="4">
                  <c:v>25</c:v>
                </c:pt>
                <c:pt idx="5">
                  <c:v>38</c:v>
                </c:pt>
                <c:pt idx="6">
                  <c:v>55</c:v>
                </c:pt>
                <c:pt idx="7">
                  <c:v>75</c:v>
                </c:pt>
              </c:numCache>
            </c:numRef>
          </c:xVal>
          <c:yVal>
            <c:numRef>
              <c:f>Лист1!$C$2:$C$9</c:f>
              <c:numCache>
                <c:formatCode>General</c:formatCode>
                <c:ptCount val="8"/>
                <c:pt idx="0">
                  <c:v>13</c:v>
                </c:pt>
                <c:pt idx="1">
                  <c:v>21</c:v>
                </c:pt>
                <c:pt idx="2">
                  <c:v>40</c:v>
                </c:pt>
                <c:pt idx="3">
                  <c:v>30</c:v>
                </c:pt>
                <c:pt idx="4">
                  <c:v>49</c:v>
                </c:pt>
                <c:pt idx="5">
                  <c:v>36</c:v>
                </c:pt>
                <c:pt idx="6">
                  <c:v>20</c:v>
                </c:pt>
                <c:pt idx="7">
                  <c:v>50</c:v>
                </c:pt>
              </c:numCache>
            </c:numRef>
          </c:yVal>
          <c:bubbleSize>
            <c:numRef>
              <c:f>Лист1!$D$2:$D$10</c:f>
              <c:numCache>
                <c:formatCode>General</c:formatCode>
                <c:ptCount val="9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5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D$2:$D$9</c15:f>
                <c15:dlblRangeCache>
                  <c:ptCount val="8"/>
                  <c:pt idx="0">
                    <c:v>3</c:v>
                  </c:pt>
                  <c:pt idx="1">
                    <c:v>2</c:v>
                  </c:pt>
                  <c:pt idx="2">
                    <c:v>1</c:v>
                  </c:pt>
                  <c:pt idx="3">
                    <c:v>45</c:v>
                  </c:pt>
                  <c:pt idx="4">
                    <c:v>1</c:v>
                  </c:pt>
                  <c:pt idx="5">
                    <c:v>1</c:v>
                  </c:pt>
                  <c:pt idx="6">
                    <c:v>1</c:v>
                  </c:pt>
                  <c:pt idx="7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12F5-4080-821E-BF77CBE9791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43"/>
        <c:showNegBubbles val="0"/>
        <c:axId val="196483344"/>
        <c:axId val="196509136"/>
      </c:bubbleChart>
      <c:valAx>
        <c:axId val="196483344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96509136"/>
        <c:crosses val="autoZero"/>
        <c:crossBetween val="midCat"/>
      </c:valAx>
      <c:valAx>
        <c:axId val="196509136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483344"/>
        <c:crosses val="autoZero"/>
        <c:crossBetween val="midCat"/>
      </c:valAx>
      <c:spPr>
        <a:blipFill dpi="0" rotWithShape="1">
          <a:blip xmlns:r="http://schemas.openxmlformats.org/officeDocument/2006/relationships" r:embed="rId3"/>
          <a:srcRect/>
          <a:stretch>
            <a:fillRect/>
          </a:stretch>
        </a:blip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48947593290705E-3"/>
          <c:w val="0.98630848837499818"/>
          <c:h val="0.99193906263528575"/>
        </c:manualLayout>
      </c:layout>
      <c:bubbleChart>
        <c:varyColors val="0"/>
        <c:ser>
          <c:idx val="0"/>
          <c:order val="0"/>
          <c:tx>
            <c:strRef>
              <c:f>Лист1!$D$11</c:f>
              <c:strCache>
                <c:ptCount val="1"/>
                <c:pt idx="0">
                  <c:v>Воздуш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3969539810786797E-2"/>
                </c:manualLayout>
              </c:layout>
              <c:tx>
                <c:rich>
                  <a:bodyPr/>
                  <a:lstStyle/>
                  <a:p>
                    <a:fld id="{7334792D-DAFD-4309-8E35-D0A698525FB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188E-4E30-8896-BEA74D37B95B}"/>
                </c:ext>
              </c:extLst>
            </c:dLbl>
            <c:dLbl>
              <c:idx val="1"/>
              <c:layout>
                <c:manualLayout>
                  <c:x val="-3.5255920040049245E-2"/>
                  <c:y val="-5.6927657050619015E-2"/>
                </c:manualLayout>
              </c:layout>
              <c:tx>
                <c:rich>
                  <a:bodyPr/>
                  <a:lstStyle/>
                  <a:p>
                    <a:fld id="{017B8D2D-E110-4579-A404-19C28B2E07F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188E-4E30-8896-BEA74D37B95B}"/>
                </c:ext>
              </c:extLst>
            </c:dLbl>
            <c:dLbl>
              <c:idx val="2"/>
              <c:layout>
                <c:manualLayout>
                  <c:x val="-7.051184008009849E-2"/>
                  <c:y val="-1.0985912169749149E-16"/>
                </c:manualLayout>
              </c:layout>
              <c:tx>
                <c:rich>
                  <a:bodyPr/>
                  <a:lstStyle/>
                  <a:p>
                    <a:fld id="{52128FF2-D828-4033-8618-81134C71FAE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188E-4E30-8896-BEA74D37B95B}"/>
                </c:ext>
              </c:extLst>
            </c:dLbl>
            <c:dLbl>
              <c:idx val="3"/>
              <c:layout>
                <c:manualLayout>
                  <c:x val="-1.8467386687644874E-2"/>
                  <c:y val="-4.4942887145225451E-2"/>
                </c:manualLayout>
              </c:layout>
              <c:tx>
                <c:rich>
                  <a:bodyPr/>
                  <a:lstStyle/>
                  <a:p>
                    <a:fld id="{33A3A425-C942-4584-8217-3B7161E3D53D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2F5-4080-821E-BF77CBE97912}"/>
                </c:ext>
              </c:extLst>
            </c:dLbl>
            <c:dLbl>
              <c:idx val="4"/>
              <c:layout>
                <c:manualLayout>
                  <c:x val="-2.5182800028606633E-2"/>
                  <c:y val="-5.0935272097922119E-2"/>
                </c:manualLayout>
              </c:layout>
              <c:tx>
                <c:rich>
                  <a:bodyPr/>
                  <a:lstStyle/>
                  <a:p>
                    <a:fld id="{8C95FAB3-FEE0-43FE-B734-99076F28B62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88E-4E30-8896-BEA74D37B95B}"/>
                </c:ext>
              </c:extLst>
            </c:dLbl>
            <c:dLbl>
              <c:idx val="5"/>
              <c:layout>
                <c:manualLayout>
                  <c:x val="-5.0365600057213824E-3"/>
                  <c:y val="-2.9961924763483631E-2"/>
                </c:manualLayout>
              </c:layout>
              <c:tx>
                <c:rich>
                  <a:bodyPr/>
                  <a:lstStyle/>
                  <a:p>
                    <a:fld id="{32289D7F-7C11-40BE-BB6F-E5E95520FD2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188E-4E30-8896-BEA74D37B95B}"/>
                </c:ext>
              </c:extLst>
            </c:dLbl>
            <c:dLbl>
              <c:idx val="6"/>
              <c:layout>
                <c:manualLayout>
                  <c:x val="-6.8832986744858049E-2"/>
                  <c:y val="2.9961924763483635E-3"/>
                </c:manualLayout>
              </c:layout>
              <c:tx>
                <c:rich>
                  <a:bodyPr/>
                  <a:lstStyle/>
                  <a:p>
                    <a:fld id="{D0FD125D-517F-41BA-B95A-68B6A932A2FE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88E-4E30-8896-BEA74D37B95B}"/>
                </c:ext>
              </c:extLst>
            </c:dLbl>
            <c:dLbl>
              <c:idx val="7"/>
              <c:layout>
                <c:manualLayout>
                  <c:x val="-3.6934773375289685E-2"/>
                  <c:y val="-5.6927657050618904E-2"/>
                </c:manualLayout>
              </c:layout>
              <c:tx>
                <c:rich>
                  <a:bodyPr/>
                  <a:lstStyle/>
                  <a:p>
                    <a:fld id="{BF866622-2F0D-4C33-B93E-32B7247E714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12:$B$19</c:f>
              <c:numCache>
                <c:formatCode>General</c:formatCode>
                <c:ptCount val="8"/>
                <c:pt idx="0">
                  <c:v>8.5</c:v>
                </c:pt>
                <c:pt idx="1">
                  <c:v>9.5</c:v>
                </c:pt>
                <c:pt idx="2">
                  <c:v>13</c:v>
                </c:pt>
                <c:pt idx="3">
                  <c:v>21</c:v>
                </c:pt>
                <c:pt idx="4">
                  <c:v>22</c:v>
                </c:pt>
                <c:pt idx="5">
                  <c:v>36</c:v>
                </c:pt>
                <c:pt idx="6">
                  <c:v>50</c:v>
                </c:pt>
                <c:pt idx="7">
                  <c:v>75</c:v>
                </c:pt>
              </c:numCache>
            </c:numRef>
          </c:xVal>
          <c:yVal>
            <c:numRef>
              <c:f>Лист1!$C$12:$C$19</c:f>
              <c:numCache>
                <c:formatCode>General</c:formatCode>
                <c:ptCount val="8"/>
                <c:pt idx="0">
                  <c:v>15</c:v>
                </c:pt>
                <c:pt idx="1">
                  <c:v>23</c:v>
                </c:pt>
                <c:pt idx="2">
                  <c:v>39</c:v>
                </c:pt>
                <c:pt idx="3">
                  <c:v>32</c:v>
                </c:pt>
                <c:pt idx="4">
                  <c:v>49</c:v>
                </c:pt>
                <c:pt idx="5">
                  <c:v>38</c:v>
                </c:pt>
                <c:pt idx="6">
                  <c:v>18</c:v>
                </c:pt>
                <c:pt idx="7">
                  <c:v>53</c:v>
                </c:pt>
              </c:numCache>
            </c:numRef>
          </c:yVal>
          <c:bubbleSize>
            <c:numRef>
              <c:f>Лист1!$D$12:$D$1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12:$E$19</c15:f>
                <c15:dlblRangeCache>
                  <c:ptCount val="8"/>
                  <c:pt idx="3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12F5-4080-821E-BF77CBE97912}"/>
            </c:ext>
          </c:extLst>
        </c:ser>
        <c:ser>
          <c:idx val="1"/>
          <c:order val="1"/>
          <c:tx>
            <c:strRef>
              <c:f>Лист1!$D$21</c:f>
              <c:strCache>
                <c:ptCount val="1"/>
                <c:pt idx="0">
                  <c:v>Вод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2958117239831886E-2"/>
                </c:manualLayout>
              </c:layout>
              <c:tx>
                <c:rich>
                  <a:bodyPr/>
                  <a:lstStyle/>
                  <a:p>
                    <a:fld id="{80CD012C-CC2C-4292-90CF-05B4758D4F0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188E-4E30-8896-BEA74D37B95B}"/>
                </c:ext>
              </c:extLst>
            </c:dLbl>
            <c:dLbl>
              <c:idx val="1"/>
              <c:layout>
                <c:manualLayout>
                  <c:x val="-6.5475280074377182E-2"/>
                  <c:y val="-3.5954309716180466E-2"/>
                </c:manualLayout>
              </c:layout>
              <c:tx>
                <c:rich>
                  <a:bodyPr/>
                  <a:lstStyle/>
                  <a:p>
                    <a:fld id="{C7CCDDD8-E8D1-4F1A-AAB1-BBB0BE0B75A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88E-4E30-8896-BEA74D37B95B}"/>
                </c:ext>
              </c:extLst>
            </c:dLbl>
            <c:dLbl>
              <c:idx val="2"/>
              <c:layout>
                <c:manualLayout>
                  <c:x val="-3.6934773375289699E-2"/>
                  <c:y val="-5.6927657050618904E-2"/>
                </c:manualLayout>
              </c:layout>
              <c:tx>
                <c:rich>
                  <a:bodyPr/>
                  <a:lstStyle/>
                  <a:p>
                    <a:fld id="{E0CDE563-11BC-49D5-8099-796AE9E88E2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188E-4E30-8896-BEA74D37B95B}"/>
                </c:ext>
              </c:extLst>
            </c:dLbl>
            <c:dLbl>
              <c:idx val="3"/>
              <c:layout>
                <c:manualLayout>
                  <c:x val="0"/>
                  <c:y val="-1.4980962381741927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EB5CE0B-B6B3-442D-BB79-FAA04B8B76F2}" type="CELLRANGE">
                      <a:rPr lang="en-US"/>
                      <a:pPr>
                        <a:defRPr/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solidFill>
                  <a:prstClr val="white"/>
                </a:solidFill>
                <a:ln w="9525" cap="flat" cmpd="sng" algn="ctr">
                  <a:solidFill>
                    <a:prstClr val="blac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oundRectCallout">
                      <a:avLst>
                        <a:gd name="adj1" fmla="val -157208"/>
                        <a:gd name="adj2" fmla="val 26516"/>
                        <a:gd name="adj3" fmla="val 16667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188E-4E30-8896-BEA74D37B95B}"/>
                </c:ext>
              </c:extLst>
            </c:dLbl>
            <c:dLbl>
              <c:idx val="4"/>
              <c:layout>
                <c:manualLayout>
                  <c:x val="-2.8540506699087514E-2"/>
                  <c:y val="-3.2958117239831941E-2"/>
                </c:manualLayout>
              </c:layout>
              <c:tx>
                <c:rich>
                  <a:bodyPr/>
                  <a:lstStyle/>
                  <a:p>
                    <a:fld id="{3166B584-A171-4A9D-A3AE-C49732BD88C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188E-4E30-8896-BEA74D37B9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486C3D5-0C23-450F-8D4C-E46091FB2FE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188E-4E30-8896-BEA74D37B9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ABD1622-FD79-4A0E-980A-448DA9C307E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188E-4E30-8896-BEA74D37B95B}"/>
                </c:ext>
              </c:extLst>
            </c:dLbl>
            <c:dLbl>
              <c:idx val="7"/>
              <c:layout>
                <c:manualLayout>
                  <c:x val="-3.3577066704808804E-2"/>
                  <c:y val="-3.5954309716180417E-2"/>
                </c:manualLayout>
              </c:layout>
              <c:tx>
                <c:rich>
                  <a:bodyPr/>
                  <a:lstStyle/>
                  <a:p>
                    <a:fld id="{14CECC3C-CFB2-449C-B168-FFA5195A8A4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2:$B$29</c:f>
              <c:numCache>
                <c:formatCode>General</c:formatCode>
                <c:ptCount val="8"/>
                <c:pt idx="0">
                  <c:v>9</c:v>
                </c:pt>
                <c:pt idx="1">
                  <c:v>12.5</c:v>
                </c:pt>
                <c:pt idx="2">
                  <c:v>12</c:v>
                </c:pt>
                <c:pt idx="3">
                  <c:v>25</c:v>
                </c:pt>
                <c:pt idx="4">
                  <c:v>26</c:v>
                </c:pt>
                <c:pt idx="5">
                  <c:v>42</c:v>
                </c:pt>
                <c:pt idx="6">
                  <c:v>60</c:v>
                </c:pt>
                <c:pt idx="7">
                  <c:v>82</c:v>
                </c:pt>
              </c:numCache>
            </c:numRef>
          </c:xVal>
          <c:yVal>
            <c:numRef>
              <c:f>Лист1!$C$22:$C$29</c:f>
              <c:numCache>
                <c:formatCode>General</c:formatCode>
                <c:ptCount val="8"/>
                <c:pt idx="0">
                  <c:v>11</c:v>
                </c:pt>
                <c:pt idx="1">
                  <c:v>24</c:v>
                </c:pt>
                <c:pt idx="2">
                  <c:v>33</c:v>
                </c:pt>
                <c:pt idx="3">
                  <c:v>32</c:v>
                </c:pt>
                <c:pt idx="4">
                  <c:v>48</c:v>
                </c:pt>
                <c:pt idx="5">
                  <c:v>37</c:v>
                </c:pt>
                <c:pt idx="6">
                  <c:v>18</c:v>
                </c:pt>
                <c:pt idx="7">
                  <c:v>59</c:v>
                </c:pt>
              </c:numCache>
            </c:numRef>
          </c:yVal>
          <c:bubbleSize>
            <c:numRef>
              <c:f>Лист1!$D$22:$D$2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22:$E$29</c15:f>
                <c15:dlblRangeCache>
                  <c:ptCount val="8"/>
                  <c:pt idx="0">
                    <c:v>1</c:v>
                  </c:pt>
                  <c:pt idx="1">
                    <c:v>1</c:v>
                  </c:pt>
                  <c:pt idx="2">
                    <c:v>4</c:v>
                  </c:pt>
                  <c:pt idx="3">
                    <c:v>2</c:v>
                  </c:pt>
                  <c:pt idx="6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12F5-4080-821E-BF77CBE9791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зем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051184008009849E-2"/>
                  <c:y val="-2.9961924763483635E-3"/>
                </c:manualLayout>
              </c:layout>
              <c:tx>
                <c:rich>
                  <a:bodyPr/>
                  <a:lstStyle/>
                  <a:p>
                    <a:fld id="{B1EAA20A-377A-4800-BAAB-FA9CDB0A85D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188E-4E30-8896-BEA74D37B95B}"/>
                </c:ext>
              </c:extLst>
            </c:dLbl>
            <c:dLbl>
              <c:idx val="1"/>
              <c:layout>
                <c:manualLayout>
                  <c:x val="-3.3577066704808804E-2"/>
                  <c:y val="-4.1946694668877085E-2"/>
                </c:manualLayout>
              </c:layout>
              <c:tx>
                <c:rich>
                  <a:bodyPr/>
                  <a:lstStyle/>
                  <a:p>
                    <a:fld id="{91E7F963-9589-4D3E-AFFD-609112FEC70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88E-4E30-8896-BEA74D37B95B}"/>
                </c:ext>
              </c:extLst>
            </c:dLbl>
            <c:dLbl>
              <c:idx val="2"/>
              <c:layout>
                <c:manualLayout>
                  <c:x val="-7.051184008009849E-2"/>
                  <c:y val="0"/>
                </c:manualLayout>
              </c:layout>
              <c:tx>
                <c:rich>
                  <a:bodyPr/>
                  <a:lstStyle/>
                  <a:p>
                    <a:fld id="{E1CFE765-5924-42B9-B048-8200E4EBF8B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934284921504354E-2"/>
                      <c:h val="4.6770564555797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88E-4E30-8896-BEA74D37B95B}"/>
                </c:ext>
              </c:extLst>
            </c:dLbl>
            <c:dLbl>
              <c:idx val="3"/>
              <c:layout>
                <c:manualLayout>
                  <c:x val="-3.0219360034327954E-2"/>
                  <c:y val="5.3931464574270539E-2"/>
                </c:manualLayout>
              </c:layout>
              <c:tx>
                <c:rich>
                  <a:bodyPr/>
                  <a:lstStyle/>
                  <a:p>
                    <a:fld id="{4AD7949E-5B40-4C2C-864B-D4A2D5B8C17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188E-4E30-8896-BEA74D37B95B}"/>
                </c:ext>
              </c:extLst>
            </c:dLbl>
            <c:dLbl>
              <c:idx val="4"/>
              <c:layout>
                <c:manualLayout>
                  <c:x val="-3.5255920040049245E-2"/>
                  <c:y val="-4.4942887145225506E-2"/>
                </c:manualLayout>
              </c:layout>
              <c:tx>
                <c:rich>
                  <a:bodyPr/>
                  <a:lstStyle/>
                  <a:p>
                    <a:fld id="{084120CF-9059-4B49-AA91-334A7CD95727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036449095646654E-2"/>
                      <c:h val="5.27629495084946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188E-4E30-8896-BEA74D37B95B}"/>
                </c:ext>
              </c:extLst>
            </c:dLbl>
            <c:dLbl>
              <c:idx val="5"/>
              <c:layout>
                <c:manualLayout>
                  <c:x val="-3.1898213369568426E-2"/>
                  <c:y val="4.1946694668876974E-2"/>
                </c:manualLayout>
              </c:layout>
              <c:tx>
                <c:rich>
                  <a:bodyPr/>
                  <a:lstStyle/>
                  <a:p>
                    <a:fld id="{7551809F-5F11-4249-9E80-DAF24C40FC2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188E-4E30-8896-BEA74D37B9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8B9B0E5-F184-491D-988A-9ED374C741C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188E-4E30-8896-BEA74D37B95B}"/>
                </c:ext>
              </c:extLst>
            </c:dLbl>
            <c:dLbl>
              <c:idx val="7"/>
              <c:layout>
                <c:manualLayout>
                  <c:x val="-3.0219360034328048E-2"/>
                  <c:y val="-3.5954309716180417E-2"/>
                </c:manualLayout>
              </c:layout>
              <c:tx>
                <c:rich>
                  <a:bodyPr/>
                  <a:lstStyle/>
                  <a:p>
                    <a:fld id="{D99663C9-1246-4764-86B6-2D17042384D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:$B$9</c:f>
              <c:numCache>
                <c:formatCode>General</c:formatCode>
                <c:ptCount val="8"/>
                <c:pt idx="0">
                  <c:v>6</c:v>
                </c:pt>
                <c:pt idx="1">
                  <c:v>6</c:v>
                </c:pt>
                <c:pt idx="2">
                  <c:v>13</c:v>
                </c:pt>
                <c:pt idx="3">
                  <c:v>17</c:v>
                </c:pt>
                <c:pt idx="4">
                  <c:v>18</c:v>
                </c:pt>
                <c:pt idx="5">
                  <c:v>33</c:v>
                </c:pt>
                <c:pt idx="6">
                  <c:v>55</c:v>
                </c:pt>
                <c:pt idx="7">
                  <c:v>68</c:v>
                </c:pt>
              </c:numCache>
            </c:numRef>
          </c:xVal>
          <c:yVal>
            <c:numRef>
              <c:f>Лист1!$C$2:$C$9</c:f>
              <c:numCache>
                <c:formatCode>General</c:formatCode>
                <c:ptCount val="8"/>
                <c:pt idx="0">
                  <c:v>15</c:v>
                </c:pt>
                <c:pt idx="1">
                  <c:v>22</c:v>
                </c:pt>
                <c:pt idx="2">
                  <c:v>46</c:v>
                </c:pt>
                <c:pt idx="3">
                  <c:v>30</c:v>
                </c:pt>
                <c:pt idx="4">
                  <c:v>52</c:v>
                </c:pt>
                <c:pt idx="5">
                  <c:v>30</c:v>
                </c:pt>
                <c:pt idx="6">
                  <c:v>29</c:v>
                </c:pt>
                <c:pt idx="7">
                  <c:v>50</c:v>
                </c:pt>
              </c:numCache>
            </c:numRef>
          </c:yVal>
          <c:bubbleSize>
            <c:numRef>
              <c:f>Лист1!$D$2:$D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2:$E$9</c15:f>
                <c15:dlblRangeCache>
                  <c:ptCount val="8"/>
                  <c:pt idx="3">
                    <c:v>4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12F5-4080-821E-BF77CBE97912}"/>
            </c:ext>
          </c:extLst>
        </c:ser>
        <c:ser>
          <c:idx val="3"/>
          <c:order val="3"/>
          <c:tx>
            <c:strRef>
              <c:f>Лист1!$D$31</c:f>
              <c:strCache>
                <c:ptCount val="1"/>
                <c:pt idx="0">
                  <c:v>Прочие активы</c:v>
                </c:pt>
              </c:strCache>
            </c:strRef>
          </c:tx>
          <c:spPr>
            <a:blipFill>
              <a:blip xmlns:r="http://schemas.openxmlformats.org/officeDocument/2006/relationships" r:embed="rId6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7154133409617608E-2"/>
                  <c:y val="2.0973347334438432E-2"/>
                </c:manualLayout>
              </c:layout>
              <c:tx>
                <c:rich>
                  <a:bodyPr/>
                  <a:lstStyle/>
                  <a:p>
                    <a:fld id="{FC268A98-CB15-4A66-A948-03C0F1AA8F1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188E-4E30-8896-BEA74D37B95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A7A52AD-CF5D-4299-BB29-A9407E61104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188E-4E30-8896-BEA74D37B95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FCB3A84-EFAD-413E-804B-52E242C3996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188E-4E30-8896-BEA74D37B95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E121AAA-9006-4E0D-8764-70622DA850C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188E-4E30-8896-BEA74D37B95B}"/>
                </c:ext>
              </c:extLst>
            </c:dLbl>
            <c:dLbl>
              <c:idx val="4"/>
              <c:layout>
                <c:manualLayout>
                  <c:x val="-1.0073120011442702E-2"/>
                  <c:y val="0"/>
                </c:manualLayout>
              </c:layout>
              <c:tx>
                <c:rich>
                  <a:bodyPr/>
                  <a:lstStyle/>
                  <a:p>
                    <a:fld id="{8208339B-A118-453B-BF20-7F38A06F1C5E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88E-4E30-8896-BEA74D37B9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6548939-2441-4D15-BE55-3DB6702E811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188E-4E30-8896-BEA74D37B95B}"/>
                </c:ext>
              </c:extLst>
            </c:dLbl>
            <c:dLbl>
              <c:idx val="6"/>
              <c:layout>
                <c:manualLayout>
                  <c:x val="-3.3577066704808804E-2"/>
                  <c:y val="6.2920042003315524E-2"/>
                </c:manualLayout>
              </c:layout>
              <c:tx>
                <c:rich>
                  <a:bodyPr/>
                  <a:lstStyle/>
                  <a:p>
                    <a:fld id="{93DED44F-B8FF-4824-A56B-24197E3D526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88E-4E30-8896-BEA74D37B95B}"/>
                </c:ext>
              </c:extLst>
            </c:dLbl>
            <c:dLbl>
              <c:idx val="7"/>
              <c:layout>
                <c:manualLayout>
                  <c:x val="-1.6788533352405633E-3"/>
                  <c:y val="-2.9961924763484732E-3"/>
                </c:manualLayout>
              </c:layout>
              <c:tx>
                <c:rich>
                  <a:bodyPr/>
                  <a:lstStyle/>
                  <a:p>
                    <a:fld id="{A7BB4AC3-E8A6-44B3-B189-CBD8F09143C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32:$B$39</c:f>
              <c:numCache>
                <c:formatCode>General</c:formatCode>
                <c:ptCount val="8"/>
                <c:pt idx="0">
                  <c:v>9</c:v>
                </c:pt>
                <c:pt idx="1">
                  <c:v>11.5</c:v>
                </c:pt>
                <c:pt idx="2">
                  <c:v>17</c:v>
                </c:pt>
                <c:pt idx="3">
                  <c:v>22</c:v>
                </c:pt>
                <c:pt idx="4">
                  <c:v>30</c:v>
                </c:pt>
                <c:pt idx="5">
                  <c:v>38</c:v>
                </c:pt>
                <c:pt idx="6">
                  <c:v>55</c:v>
                </c:pt>
                <c:pt idx="7">
                  <c:v>76</c:v>
                </c:pt>
              </c:numCache>
            </c:numRef>
          </c:xVal>
          <c:yVal>
            <c:numRef>
              <c:f>Лист1!$C$32:$C$39</c:f>
              <c:numCache>
                <c:formatCode>General</c:formatCode>
                <c:ptCount val="8"/>
                <c:pt idx="0">
                  <c:v>7</c:v>
                </c:pt>
                <c:pt idx="1">
                  <c:v>18.5</c:v>
                </c:pt>
                <c:pt idx="2">
                  <c:v>41</c:v>
                </c:pt>
                <c:pt idx="3">
                  <c:v>26</c:v>
                </c:pt>
                <c:pt idx="4">
                  <c:v>48</c:v>
                </c:pt>
                <c:pt idx="5">
                  <c:v>31</c:v>
                </c:pt>
                <c:pt idx="6">
                  <c:v>20</c:v>
                </c:pt>
                <c:pt idx="7">
                  <c:v>43</c:v>
                </c:pt>
              </c:numCache>
            </c:numRef>
          </c:yVal>
          <c:bubbleSize>
            <c:numRef>
              <c:f>Лист1!$D$32:$D$3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32:$E$39</c15:f>
                <c15:dlblRangeCache>
                  <c:ptCount val="8"/>
                </c15:dlblRangeCache>
              </c15:datalabelsRange>
            </c:ext>
            <c:ext xmlns:c16="http://schemas.microsoft.com/office/drawing/2014/chart" uri="{C3380CC4-5D6E-409C-BE32-E72D297353CC}">
              <c16:uniqueId val="{00000007-12F5-4080-821E-BF77CBE979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20"/>
        <c:showNegBubbles val="0"/>
        <c:axId val="196483344"/>
        <c:axId val="196509136"/>
      </c:bubbleChart>
      <c:valAx>
        <c:axId val="196483344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96509136"/>
        <c:crosses val="autoZero"/>
        <c:crossBetween val="midCat"/>
      </c:valAx>
      <c:valAx>
        <c:axId val="196509136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483344"/>
        <c:crosses val="autoZero"/>
        <c:crossBetween val="midCat"/>
      </c:valAx>
      <c:spPr>
        <a:blipFill>
          <a:blip xmlns:r="http://schemas.openxmlformats.org/officeDocument/2006/relationships" r:embed="rId7"/>
          <a:stretch>
            <a:fillRect/>
          </a:stretch>
        </a:blip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1.117428916754884E-3"/>
          <c:y val="2.8480342972029274E-3"/>
          <c:w val="0.2232523302021617"/>
          <c:h val="0.245255576397835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8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D65-B157-43FF-B324-DF8CF2C86B10}" type="datetimeFigureOut">
              <a:rPr lang="ru-RU" smtClean="0"/>
              <a:t>16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1F831-2A9A-4061-B239-8898CF521F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322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67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96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6666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1077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5619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773715" y="3585947"/>
            <a:ext cx="6273007" cy="68788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50">
                <a:solidFill>
                  <a:srgbClr val="414140"/>
                </a:solidFill>
                <a:latin typeface="Roboto"/>
                <a:ea typeface="Roboto"/>
                <a:cs typeface="Roboto"/>
              </a:defRPr>
            </a:lvl1pPr>
            <a:lvl2pPr marL="574679" indent="0" algn="ctr">
              <a:buNone/>
              <a:defRPr sz="2500"/>
            </a:lvl2pPr>
            <a:lvl3pPr marL="1149357" indent="0" algn="ctr">
              <a:buNone/>
              <a:defRPr sz="2250"/>
            </a:lvl3pPr>
            <a:lvl4pPr marL="1724037" indent="0" algn="ctr">
              <a:buNone/>
              <a:defRPr sz="2000"/>
            </a:lvl4pPr>
            <a:lvl5pPr marL="2298715" indent="0" algn="ctr">
              <a:buNone/>
              <a:defRPr sz="2000"/>
            </a:lvl5pPr>
            <a:lvl6pPr marL="2873394" indent="0" algn="ctr">
              <a:buNone/>
              <a:defRPr sz="2000"/>
            </a:lvl6pPr>
            <a:lvl7pPr marL="3448072" indent="0" algn="ctr">
              <a:buNone/>
              <a:defRPr sz="2000"/>
            </a:lvl7pPr>
            <a:lvl8pPr marL="4022751" indent="0" algn="ctr">
              <a:buNone/>
              <a:defRPr sz="2000"/>
            </a:lvl8pPr>
            <a:lvl9pPr marL="4597430" indent="0" algn="ctr">
              <a:buNone/>
              <a:defRPr sz="2000"/>
            </a:lvl9pPr>
          </a:lstStyle>
          <a:p>
            <a:pPr>
              <a:defRPr/>
            </a:pPr>
            <a:r>
              <a:rPr lang="ru-RU"/>
              <a:t>Реквизиты</a:t>
            </a:r>
            <a:endParaRPr lang="en-US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97466" y="1367766"/>
            <a:ext cx="7149253" cy="2120871"/>
          </a:xfrm>
          <a:prstGeom prst="rect">
            <a:avLst/>
          </a:prstGeom>
          <a:gradFill rotWithShape="0"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60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351664" y="1691346"/>
            <a:ext cx="6202075" cy="1479239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000" b="1" i="0" cap="all">
                <a:solidFill>
                  <a:schemeClr val="bg1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Название</a:t>
            </a:r>
            <a:br>
              <a:rPr lang="ru-RU"/>
            </a:br>
            <a:r>
              <a:rPr lang="ru-RU"/>
              <a:t>презентации</a:t>
            </a:r>
            <a:br>
              <a:rPr lang="ru-RU"/>
            </a:br>
            <a:endParaRPr lang="en-US"/>
          </a:p>
        </p:txBody>
      </p:sp>
      <p:sp>
        <p:nvSpPr>
          <p:cNvPr id="9" name="Title 1"/>
          <p:cNvSpPr txBox="1"/>
          <p:nvPr userDrawn="1"/>
        </p:nvSpPr>
        <p:spPr bwMode="auto">
          <a:xfrm>
            <a:off x="887815" y="790344"/>
            <a:ext cx="2012288" cy="34830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350" b="0" i="0" spc="114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550" b="0" i="0" spc="114">
                <a:latin typeface="Supermolot"/>
              </a:rPr>
            </a:br>
            <a:endParaRPr lang="en-US" sz="1550" b="0" i="0" spc="114">
              <a:latin typeface="Supermolo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8970135" y="636842"/>
            <a:ext cx="2334051" cy="3917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12479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/>
          </a:p>
        </p:txBody>
      </p:sp>
      <p:sp>
        <p:nvSpPr>
          <p:cNvPr id="3" name="TextBox 2"/>
          <p:cNvSpPr txBox="1"/>
          <p:nvPr userDrawn="1"/>
        </p:nvSpPr>
        <p:spPr bwMode="auto">
          <a:xfrm>
            <a:off x="352444" y="6454448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defRPr/>
            </a:pPr>
            <a:fld id="{4A5AB163-ABDF-334D-A7A5-269B826FC809}" type="slidenum">
              <a:rPr sz="1200">
                <a:solidFill>
                  <a:srgbClr val="6D6E6C"/>
                </a:solidFill>
                <a:latin typeface="Roboto"/>
                <a:ea typeface="Roboto"/>
                <a:cs typeface="Roboto"/>
              </a:rPr>
              <a:t>‹#›</a:t>
            </a:fld>
            <a:endParaRPr sz="1200">
              <a:solidFill>
                <a:srgbClr val="6D6E6C"/>
              </a:solidFill>
              <a:latin typeface="Roboto"/>
              <a:ea typeface="Roboto"/>
              <a:cs typeface="Roboto"/>
            </a:endParaRPr>
          </a:p>
        </p:txBody>
      </p:sp>
      <p:cxnSp>
        <p:nvCxnSpPr>
          <p:cNvPr id="4" name="Straight Connector 11"/>
          <p:cNvCxnSpPr>
            <a:cxnSpLocks/>
          </p:cNvCxnSpPr>
          <p:nvPr userDrawn="1"/>
        </p:nvCxnSpPr>
        <p:spPr bwMode="auto">
          <a:xfrm>
            <a:off x="0" y="1247908"/>
            <a:ext cx="12192000" cy="0"/>
          </a:xfrm>
          <a:prstGeom prst="line">
            <a:avLst/>
          </a:prstGeom>
          <a:ln w="25400">
            <a:gradFill>
              <a:gsLst>
                <a:gs pos="0">
                  <a:srgbClr val="198B50"/>
                </a:gs>
                <a:gs pos="100000">
                  <a:srgbClr val="283278"/>
                </a:gs>
              </a:gsLst>
              <a:lin ang="189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/>
          <a:srcRect l="73634" t="2269" r="7268" b="-2269"/>
          <a:stretch/>
        </p:blipFill>
        <p:spPr bwMode="auto">
          <a:xfrm>
            <a:off x="9733546" y="395309"/>
            <a:ext cx="1982361" cy="4572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8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1016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861549" y="1368130"/>
            <a:ext cx="7198717" cy="20710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60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351665" y="1691346"/>
            <a:ext cx="6215326" cy="140966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00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Спасибо за внимание!</a:t>
            </a:r>
            <a:br>
              <a:rPr lang="ru-RU"/>
            </a:br>
            <a:endParaRPr lang="en-US"/>
          </a:p>
        </p:txBody>
      </p:sp>
      <p:sp>
        <p:nvSpPr>
          <p:cNvPr id="13" name="Title 1"/>
          <p:cNvSpPr txBox="1"/>
          <p:nvPr userDrawn="1"/>
        </p:nvSpPr>
        <p:spPr bwMode="auto">
          <a:xfrm>
            <a:off x="887815" y="790344"/>
            <a:ext cx="2012288" cy="34830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350" b="0" i="0" spc="114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550" b="0" i="0" spc="114">
                <a:latin typeface="Supermolot"/>
              </a:rPr>
            </a:br>
            <a:endParaRPr lang="en-US" sz="1550" b="0" i="0" spc="114">
              <a:latin typeface="Supermolo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8970135" y="636842"/>
            <a:ext cx="2334051" cy="3917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1A4903-88C3-924B-A426-4746A34C04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A60A9A8-6660-854F-BF33-CDEC6DD2A17A}"/>
              </a:ext>
            </a:extLst>
          </p:cNvPr>
          <p:cNvSpPr/>
          <p:nvPr userDrawn="1"/>
        </p:nvSpPr>
        <p:spPr>
          <a:xfrm>
            <a:off x="1326196" y="2855629"/>
            <a:ext cx="6699088" cy="27982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33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5AAB9-43EA-1840-B8B4-2A30E613E2DE}"/>
              </a:ext>
            </a:extLst>
          </p:cNvPr>
          <p:cNvSpPr/>
          <p:nvPr userDrawn="1"/>
        </p:nvSpPr>
        <p:spPr>
          <a:xfrm>
            <a:off x="897467" y="1395269"/>
            <a:ext cx="6699088" cy="2798243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33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828BAFD-CFAD-9D4C-BE47-AEFE4AC59F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2767" y="1849967"/>
            <a:ext cx="5721351" cy="1875367"/>
          </a:xfrm>
          <a:prstGeom prst="rect">
            <a:avLst/>
          </a:prstGeom>
        </p:spPr>
        <p:txBody>
          <a:bodyPr lIns="0" rIns="36000"/>
          <a:lstStyle>
            <a:lvl1pPr marL="0" indent="0">
              <a:buNone/>
              <a:defRPr sz="2800" b="1" i="0">
                <a:solidFill>
                  <a:schemeClr val="bg1"/>
                </a:solidFill>
                <a:latin typeface="Supermolot" panose="02000503050000020004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798ACB-1AC8-074E-B7E1-1D97AABBE9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4067" y="4434418"/>
            <a:ext cx="5962651" cy="9249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14140"/>
                </a:solidFill>
              </a:defRPr>
            </a:lvl1pPr>
          </a:lstStyle>
          <a:p>
            <a:pPr lvl="0"/>
            <a:r>
              <a:rPr lang="ru-RU" dirty="0"/>
              <a:t>Реквизиты</a:t>
            </a:r>
            <a:endParaRPr lang="x-non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8850BE7-3491-044A-A739-AF35CCF47916}"/>
              </a:ext>
            </a:extLst>
          </p:cNvPr>
          <p:cNvSpPr txBox="1">
            <a:spLocks/>
          </p:cNvSpPr>
          <p:nvPr userDrawn="1"/>
        </p:nvSpPr>
        <p:spPr>
          <a:xfrm>
            <a:off x="897467" y="700026"/>
            <a:ext cx="2352909" cy="34965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46" b="1" i="0" kern="1200" cap="all" baseline="0">
                <a:solidFill>
                  <a:srgbClr val="25377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ru-RU" sz="1600" b="0" i="0" spc="133" baseline="0" dirty="0">
                <a:solidFill>
                  <a:srgbClr val="414140"/>
                </a:solidFill>
                <a:latin typeface="Supermolot" panose="02000503050000020004" pitchFamily="2" charset="0"/>
              </a:rPr>
              <a:t>ДВИЖУЩАЯ СИЛА</a:t>
            </a:r>
            <a:br>
              <a:rPr lang="ru-RU" sz="1800" b="0" i="0" spc="133" baseline="0" dirty="0">
                <a:latin typeface="Supermolot" panose="02000503050000020004" pitchFamily="2" charset="0"/>
              </a:rPr>
            </a:br>
            <a:endParaRPr lang="en-US" sz="1800" b="0" i="0" spc="133" baseline="0" dirty="0">
              <a:latin typeface="Supermolot" panose="02000503050000020004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260726-C554-0147-98D3-99E6D04FA4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3751"/>
          <a:stretch/>
        </p:blipFill>
        <p:spPr>
          <a:xfrm>
            <a:off x="8561164" y="480000"/>
            <a:ext cx="2729137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628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811" y="1440"/>
          <a:ext cx="181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811" y="1440"/>
                        <a:ext cx="181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1149357">
        <a:lnSpc>
          <a:spcPct val="90000"/>
        </a:lnSpc>
        <a:spcBef>
          <a:spcPts val="0"/>
        </a:spcBef>
        <a:buNone/>
        <a:defRPr sz="55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40" indent="-287340" algn="l" defTabSz="1149357">
        <a:lnSpc>
          <a:spcPct val="90000"/>
        </a:lnSpc>
        <a:spcBef>
          <a:spcPts val="1257"/>
        </a:spcBef>
        <a:buFont typeface="Arial"/>
        <a:buChar char="•"/>
        <a:defRPr sz="3500">
          <a:solidFill>
            <a:schemeClr val="tx1"/>
          </a:solidFill>
          <a:latin typeface="+mn-lt"/>
          <a:ea typeface="+mn-ea"/>
          <a:cs typeface="+mn-cs"/>
        </a:defRPr>
      </a:lvl1pPr>
      <a:lvl2pPr marL="862018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2pPr>
      <a:lvl3pPr marL="1436697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3pPr>
      <a:lvl4pPr marL="2011375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4pPr>
      <a:lvl5pPr marL="2586054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5pPr>
      <a:lvl6pPr marL="3160733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6pPr>
      <a:lvl7pPr marL="3735412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7pPr>
      <a:lvl8pPr marL="4310091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8pPr>
      <a:lvl9pPr marL="4884769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1pPr>
      <a:lvl2pPr marL="574679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2pPr>
      <a:lvl3pPr marL="1149357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3pPr>
      <a:lvl4pPr marL="1724037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4pPr>
      <a:lvl5pPr marL="2298715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5pPr>
      <a:lvl6pPr marL="2873394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6pPr>
      <a:lvl7pPr marL="3448072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7pPr>
      <a:lvl8pPr marL="4022751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8pPr>
      <a:lvl9pPr marL="4597430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AAF694-361D-B846-AD1E-76F7371426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2767" y="1849967"/>
            <a:ext cx="5721351" cy="710353"/>
          </a:xfrm>
        </p:spPr>
        <p:txBody>
          <a:bodyPr/>
          <a:lstStyle/>
          <a:p>
            <a:r>
              <a:rPr lang="ru-RU" dirty="0"/>
              <a:t>Отчёт для министерств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02A8ED-818B-CD41-82D8-C05D4F11FE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/>
              <a:t>30.08.2024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39205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B71ECAF-9D72-B07D-485A-79621CADDAAB}"/>
              </a:ext>
            </a:extLst>
          </p:cNvPr>
          <p:cNvSpPr txBox="1">
            <a:spLocks/>
          </p:cNvSpPr>
          <p:nvPr/>
        </p:nvSpPr>
        <p:spPr bwMode="auto">
          <a:xfrm>
            <a:off x="755446" y="1366283"/>
            <a:ext cx="11261279" cy="550800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26030" y="591396"/>
            <a:ext cx="6482719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лан реализации ПРОГРАММ 2024</a:t>
            </a:r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46C67103-7291-5032-69BC-3A885A515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044864"/>
              </p:ext>
            </p:extLst>
          </p:nvPr>
        </p:nvGraphicFramePr>
        <p:xfrm>
          <a:off x="755445" y="1360540"/>
          <a:ext cx="11257398" cy="5016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635">
                  <a:extLst>
                    <a:ext uri="{9D8B030D-6E8A-4147-A177-3AD203B41FA5}">
                      <a16:colId xmlns:a16="http://schemas.microsoft.com/office/drawing/2014/main" val="3857112631"/>
                    </a:ext>
                  </a:extLst>
                </a:gridCol>
                <a:gridCol w="2861120">
                  <a:extLst>
                    <a:ext uri="{9D8B030D-6E8A-4147-A177-3AD203B41FA5}">
                      <a16:colId xmlns:a16="http://schemas.microsoft.com/office/drawing/2014/main" val="1896343123"/>
                    </a:ext>
                  </a:extLst>
                </a:gridCol>
                <a:gridCol w="794937">
                  <a:extLst>
                    <a:ext uri="{9D8B030D-6E8A-4147-A177-3AD203B41FA5}">
                      <a16:colId xmlns:a16="http://schemas.microsoft.com/office/drawing/2014/main" val="3481831168"/>
                    </a:ext>
                  </a:extLst>
                </a:gridCol>
                <a:gridCol w="910038">
                  <a:extLst>
                    <a:ext uri="{9D8B030D-6E8A-4147-A177-3AD203B41FA5}">
                      <a16:colId xmlns:a16="http://schemas.microsoft.com/office/drawing/2014/main" val="3358480111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3971664492"/>
                    </a:ext>
                  </a:extLst>
                </a:gridCol>
                <a:gridCol w="2581275">
                  <a:extLst>
                    <a:ext uri="{9D8B030D-6E8A-4147-A177-3AD203B41FA5}">
                      <a16:colId xmlns:a16="http://schemas.microsoft.com/office/drawing/2014/main" val="475175547"/>
                    </a:ext>
                  </a:extLst>
                </a:gridCol>
                <a:gridCol w="1304925">
                  <a:extLst>
                    <a:ext uri="{9D8B030D-6E8A-4147-A177-3AD203B41FA5}">
                      <a16:colId xmlns:a16="http://schemas.microsoft.com/office/drawing/2014/main" val="3448936700"/>
                    </a:ext>
                  </a:extLst>
                </a:gridCol>
                <a:gridCol w="830493">
                  <a:extLst>
                    <a:ext uri="{9D8B030D-6E8A-4147-A177-3AD203B41FA5}">
                      <a16:colId xmlns:a16="http://schemas.microsoft.com/office/drawing/2014/main" val="3270945312"/>
                    </a:ext>
                  </a:extLst>
                </a:gridCol>
              </a:tblGrid>
              <a:tr h="237830">
                <a:tc rowSpan="2"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Объём законтрактованных ДЛ или ДКП, план/факт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инамика за неделю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нее изменение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ие плана 2024г., </a:t>
                      </a:r>
                      <a:endParaRPr lang="en-US" sz="1200" b="1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лан/факт в ед.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й показатель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пуск измов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261541"/>
                  </a:ext>
                </a:extLst>
              </a:tr>
              <a:tr h="2378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нтракт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84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редача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846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388188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5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L w="12700">
                      <a:noFill/>
                    </a:lnL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764139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0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18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59299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7-п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023312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1-п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45821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-р (ФНБ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11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512175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8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noProof="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dirty="0">
                          <a:solidFill>
                            <a:schemeClr val="accent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</a:t>
                      </a:r>
                      <a:endParaRPr lang="ru-RU" sz="23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07424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-р (ФНБ) (ДФО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noProof="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dirty="0">
                          <a:solidFill>
                            <a:schemeClr val="accent4"/>
                          </a:solidFill>
                          <a:sym typeface="Wingdings 2" panose="05020102010507070707" pitchFamily="18" charset="2"/>
                        </a:rPr>
                        <a:t></a:t>
                      </a:r>
                      <a:endParaRPr lang="ru-RU" sz="2300" dirty="0">
                        <a:solidFill>
                          <a:schemeClr val="accent4"/>
                        </a:solidFill>
                      </a:endParaRPr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88617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-р (ФНБ) (РФ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8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2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41905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КД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800" b="1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800" b="1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2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714265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-р (ФНБ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12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4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29688"/>
                  </a:ext>
                </a:extLst>
              </a:tr>
            </a:tbl>
          </a:graphicData>
        </a:graphic>
      </p:graphicFrame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456146BE-E4E0-CE1B-47A9-4216F6446D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9800803"/>
              </p:ext>
            </p:extLst>
          </p:nvPr>
        </p:nvGraphicFramePr>
        <p:xfrm>
          <a:off x="7239001" y="1780341"/>
          <a:ext cx="2686050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4260354D-FB77-509C-13B6-7C966AD17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0521135"/>
              </p:ext>
            </p:extLst>
          </p:nvPr>
        </p:nvGraphicFramePr>
        <p:xfrm>
          <a:off x="1781175" y="1780341"/>
          <a:ext cx="2857500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ACA4657-66BB-FC3B-4CCB-00ADAA655E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78669" y="4661362"/>
            <a:ext cx="279978" cy="25986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C2B49E3-CCCA-9D9A-B026-D9329C84E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59619" y="5855675"/>
            <a:ext cx="314228" cy="1197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366D40-5BD9-0100-F141-ED185193244A}"/>
              </a:ext>
            </a:extLst>
          </p:cNvPr>
          <p:cNvSpPr txBox="1"/>
          <p:nvPr/>
        </p:nvSpPr>
        <p:spPr>
          <a:xfrm>
            <a:off x="6441951" y="6479458"/>
            <a:ext cx="59976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</a:t>
            </a:r>
            <a:r>
              <a:rPr lang="en-US" sz="16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Готовятся изменения 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</a:t>
            </a:r>
            <a:r>
              <a:rPr lang="ru-RU" sz="16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Запущены изменения </a:t>
            </a:r>
            <a:r>
              <a:rPr lang="ru-RU" sz="1400" dirty="0">
                <a:solidFill>
                  <a:srgbClr val="C00000"/>
                </a:solidFill>
                <a:sym typeface="Wingdings 2" panose="05020102010507070707" pitchFamily="18" charset="2"/>
              </a:rPr>
              <a:t>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Согласование со срывом сроков</a:t>
            </a:r>
            <a:endParaRPr lang="ru-RU" sz="11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7EE2FCF-5E71-579E-3D7C-0DA49E85D5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36395" y="2895068"/>
            <a:ext cx="350351" cy="15698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9D7B4B8-6257-B1A9-DBAC-ED9A62ED5411}"/>
              </a:ext>
            </a:extLst>
          </p:cNvPr>
          <p:cNvSpPr txBox="1"/>
          <p:nvPr/>
        </p:nvSpPr>
        <p:spPr bwMode="auto">
          <a:xfrm>
            <a:off x="755446" y="6479458"/>
            <a:ext cx="40483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Без динамики по программе: </a:t>
            </a:r>
            <a:r>
              <a:rPr lang="ru-RU" sz="1400" b="1" dirty="0">
                <a:solidFill>
                  <a:srgbClr val="C00000"/>
                </a:solidFill>
                <a:sym typeface="Wingdings" panose="05000000000000000000" pitchFamily="2" charset="2"/>
              </a:rPr>
              <a:t>+90</a:t>
            </a:r>
            <a:r>
              <a:rPr lang="en-US" sz="1600" b="1" dirty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дней;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+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60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дней, </a:t>
            </a:r>
            <a:r>
              <a:rPr lang="ru-RU" sz="11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+</a:t>
            </a: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30 </a:t>
            </a:r>
            <a:r>
              <a:rPr lang="ru-RU" sz="1100" dirty="0">
                <a:sym typeface="Wingdings 2" panose="05020102010507070707" pitchFamily="18" charset="2"/>
              </a:rPr>
              <a:t>дней. </a:t>
            </a:r>
            <a:endParaRPr lang="ru-RU" sz="1100" dirty="0"/>
          </a:p>
        </p:txBody>
      </p:sp>
      <p:cxnSp>
        <p:nvCxnSpPr>
          <p:cNvPr id="12" name="Соединительная линия уступом 11"/>
          <p:cNvCxnSpPr/>
          <p:nvPr/>
        </p:nvCxnSpPr>
        <p:spPr>
          <a:xfrm rot="5400000">
            <a:off x="171348" y="2267053"/>
            <a:ext cx="723900" cy="444295"/>
          </a:xfrm>
          <a:prstGeom prst="bentConnector3">
            <a:avLst>
              <a:gd name="adj1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/>
          <p:nvPr/>
        </p:nvCxnSpPr>
        <p:spPr>
          <a:xfrm rot="16200000" flipV="1">
            <a:off x="114316" y="3302220"/>
            <a:ext cx="837964" cy="444296"/>
          </a:xfrm>
          <a:prstGeom prst="bentConnector3">
            <a:avLst>
              <a:gd name="adj1" fmla="val 36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10800000" flipV="1">
            <a:off x="311150" y="4365624"/>
            <a:ext cx="444296" cy="225425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23"/>
          <p:cNvCxnSpPr/>
          <p:nvPr/>
        </p:nvCxnSpPr>
        <p:spPr>
          <a:xfrm rot="10800000">
            <a:off x="311150" y="4972051"/>
            <a:ext cx="444296" cy="307975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/>
          <p:nvPr/>
        </p:nvCxnSpPr>
        <p:spPr>
          <a:xfrm rot="10800000" flipV="1">
            <a:off x="311150" y="5702300"/>
            <a:ext cx="444296" cy="101600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/>
          <p:nvPr/>
        </p:nvCxnSpPr>
        <p:spPr>
          <a:xfrm rot="10800000">
            <a:off x="311150" y="6013450"/>
            <a:ext cx="444296" cy="133350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781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" name="Заголовок 2"/>
          <p:cNvSpPr txBox="1"/>
          <p:nvPr/>
        </p:nvSpPr>
        <p:spPr bwMode="auto">
          <a:xfrm>
            <a:off x="45080" y="591396"/>
            <a:ext cx="6482719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ыполнение контрактации и поставок будущих периодов</a:t>
            </a:r>
            <a:endParaRPr lang="ru-RU" sz="9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366D40-5BD9-0100-F141-ED185193244A}"/>
              </a:ext>
            </a:extLst>
          </p:cNvPr>
          <p:cNvSpPr txBox="1"/>
          <p:nvPr/>
        </p:nvSpPr>
        <p:spPr>
          <a:xfrm>
            <a:off x="6441951" y="6479458"/>
            <a:ext cx="59976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</a:t>
            </a:r>
            <a:r>
              <a:rPr lang="en-US" sz="16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Готовятся изменения 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</a:t>
            </a:r>
            <a:r>
              <a:rPr lang="ru-RU" sz="16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Запущены изменения </a:t>
            </a:r>
            <a:r>
              <a:rPr lang="ru-RU" sz="1400" dirty="0">
                <a:solidFill>
                  <a:srgbClr val="C00000"/>
                </a:solidFill>
                <a:sym typeface="Wingdings 2" panose="05020102010507070707" pitchFamily="18" charset="2"/>
              </a:rPr>
              <a:t>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Согласование со срывом сроков</a:t>
            </a:r>
            <a:endParaRPr lang="ru-RU" sz="11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45A62-3B30-8630-2CB9-76E3775900C8}"/>
              </a:ext>
            </a:extLst>
          </p:cNvPr>
          <p:cNvSpPr txBox="1"/>
          <p:nvPr/>
        </p:nvSpPr>
        <p:spPr bwMode="auto">
          <a:xfrm>
            <a:off x="895146" y="6479458"/>
            <a:ext cx="40483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Без динамики по программе: </a:t>
            </a:r>
            <a:r>
              <a:rPr lang="ru-RU" sz="1400" b="1" dirty="0">
                <a:solidFill>
                  <a:srgbClr val="C00000"/>
                </a:solidFill>
                <a:sym typeface="Wingdings" panose="05000000000000000000" pitchFamily="2" charset="2"/>
              </a:rPr>
              <a:t>+90</a:t>
            </a:r>
            <a:r>
              <a:rPr lang="en-US" sz="1600" b="1" dirty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дней;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+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60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дней, </a:t>
            </a:r>
            <a:r>
              <a:rPr lang="ru-RU" sz="11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+</a:t>
            </a: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30 </a:t>
            </a:r>
            <a:r>
              <a:rPr lang="ru-RU" sz="1100" dirty="0">
                <a:sym typeface="Wingdings 2" panose="05020102010507070707" pitchFamily="18" charset="2"/>
              </a:rPr>
              <a:t>дней. </a:t>
            </a:r>
            <a:endParaRPr lang="ru-RU" sz="1100" dirty="0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7104E88-CCD5-F0B6-21C4-F91583E37F04}"/>
              </a:ext>
            </a:extLst>
          </p:cNvPr>
          <p:cNvGrpSpPr/>
          <p:nvPr/>
        </p:nvGrpSpPr>
        <p:grpSpPr>
          <a:xfrm>
            <a:off x="178194" y="2302550"/>
            <a:ext cx="441243" cy="188570"/>
            <a:chOff x="-106040" y="5771279"/>
            <a:chExt cx="1311275" cy="560387"/>
          </a:xfrm>
          <a:solidFill>
            <a:srgbClr val="224095"/>
          </a:solidFill>
        </p:grpSpPr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C582945E-978F-C5CD-CECD-5523A8D62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040" y="5771279"/>
              <a:ext cx="1311275" cy="530225"/>
            </a:xfrm>
            <a:custGeom>
              <a:avLst/>
              <a:gdLst>
                <a:gd name="T0" fmla="*/ 533 w 886"/>
                <a:gd name="T1" fmla="*/ 143 h 359"/>
                <a:gd name="T2" fmla="*/ 587 w 886"/>
                <a:gd name="T3" fmla="*/ 347 h 359"/>
                <a:gd name="T4" fmla="*/ 580 w 886"/>
                <a:gd name="T5" fmla="*/ 359 h 359"/>
                <a:gd name="T6" fmla="*/ 570 w 886"/>
                <a:gd name="T7" fmla="*/ 347 h 359"/>
                <a:gd name="T8" fmla="*/ 563 w 886"/>
                <a:gd name="T9" fmla="*/ 255 h 359"/>
                <a:gd name="T10" fmla="*/ 541 w 886"/>
                <a:gd name="T11" fmla="*/ 183 h 359"/>
                <a:gd name="T12" fmla="*/ 509 w 886"/>
                <a:gd name="T13" fmla="*/ 173 h 359"/>
                <a:gd name="T14" fmla="*/ 507 w 886"/>
                <a:gd name="T15" fmla="*/ 188 h 359"/>
                <a:gd name="T16" fmla="*/ 479 w 886"/>
                <a:gd name="T17" fmla="*/ 213 h 359"/>
                <a:gd name="T18" fmla="*/ 411 w 886"/>
                <a:gd name="T19" fmla="*/ 211 h 359"/>
                <a:gd name="T20" fmla="*/ 380 w 886"/>
                <a:gd name="T21" fmla="*/ 183 h 359"/>
                <a:gd name="T22" fmla="*/ 378 w 886"/>
                <a:gd name="T23" fmla="*/ 175 h 359"/>
                <a:gd name="T24" fmla="*/ 345 w 886"/>
                <a:gd name="T25" fmla="*/ 186 h 359"/>
                <a:gd name="T26" fmla="*/ 320 w 886"/>
                <a:gd name="T27" fmla="*/ 284 h 359"/>
                <a:gd name="T28" fmla="*/ 317 w 886"/>
                <a:gd name="T29" fmla="*/ 344 h 359"/>
                <a:gd name="T30" fmla="*/ 308 w 886"/>
                <a:gd name="T31" fmla="*/ 359 h 359"/>
                <a:gd name="T32" fmla="*/ 300 w 886"/>
                <a:gd name="T33" fmla="*/ 345 h 359"/>
                <a:gd name="T34" fmla="*/ 309 w 886"/>
                <a:gd name="T35" fmla="*/ 224 h 359"/>
                <a:gd name="T36" fmla="*/ 346 w 886"/>
                <a:gd name="T37" fmla="*/ 141 h 359"/>
                <a:gd name="T38" fmla="*/ 300 w 886"/>
                <a:gd name="T39" fmla="*/ 129 h 359"/>
                <a:gd name="T40" fmla="*/ 175 w 886"/>
                <a:gd name="T41" fmla="*/ 110 h 359"/>
                <a:gd name="T42" fmla="*/ 154 w 886"/>
                <a:gd name="T43" fmla="*/ 100 h 359"/>
                <a:gd name="T44" fmla="*/ 165 w 886"/>
                <a:gd name="T45" fmla="*/ 80 h 359"/>
                <a:gd name="T46" fmla="*/ 173 w 886"/>
                <a:gd name="T47" fmla="*/ 46 h 359"/>
                <a:gd name="T48" fmla="*/ 0 w 886"/>
                <a:gd name="T49" fmla="*/ 32 h 359"/>
                <a:gd name="T50" fmla="*/ 0 w 886"/>
                <a:gd name="T51" fmla="*/ 27 h 359"/>
                <a:gd name="T52" fmla="*/ 8 w 886"/>
                <a:gd name="T53" fmla="*/ 25 h 359"/>
                <a:gd name="T54" fmla="*/ 164 w 886"/>
                <a:gd name="T55" fmla="*/ 22 h 359"/>
                <a:gd name="T56" fmla="*/ 247 w 886"/>
                <a:gd name="T57" fmla="*/ 27 h 359"/>
                <a:gd name="T58" fmla="*/ 365 w 886"/>
                <a:gd name="T59" fmla="*/ 26 h 359"/>
                <a:gd name="T60" fmla="*/ 384 w 886"/>
                <a:gd name="T61" fmla="*/ 26 h 359"/>
                <a:gd name="T62" fmla="*/ 385 w 886"/>
                <a:gd name="T63" fmla="*/ 31 h 359"/>
                <a:gd name="T64" fmla="*/ 209 w 886"/>
                <a:gd name="T65" fmla="*/ 39 h 359"/>
                <a:gd name="T66" fmla="*/ 212 w 886"/>
                <a:gd name="T67" fmla="*/ 50 h 359"/>
                <a:gd name="T68" fmla="*/ 217 w 886"/>
                <a:gd name="T69" fmla="*/ 78 h 359"/>
                <a:gd name="T70" fmla="*/ 254 w 886"/>
                <a:gd name="T71" fmla="*/ 81 h 359"/>
                <a:gd name="T72" fmla="*/ 314 w 886"/>
                <a:gd name="T73" fmla="*/ 77 h 359"/>
                <a:gd name="T74" fmla="*/ 367 w 886"/>
                <a:gd name="T75" fmla="*/ 67 h 359"/>
                <a:gd name="T76" fmla="*/ 375 w 886"/>
                <a:gd name="T77" fmla="*/ 65 h 359"/>
                <a:gd name="T78" fmla="*/ 512 w 886"/>
                <a:gd name="T79" fmla="*/ 67 h 359"/>
                <a:gd name="T80" fmla="*/ 643 w 886"/>
                <a:gd name="T81" fmla="*/ 81 h 359"/>
                <a:gd name="T82" fmla="*/ 674 w 886"/>
                <a:gd name="T83" fmla="*/ 56 h 359"/>
                <a:gd name="T84" fmla="*/ 679 w 886"/>
                <a:gd name="T85" fmla="*/ 39 h 359"/>
                <a:gd name="T86" fmla="*/ 501 w 886"/>
                <a:gd name="T87" fmla="*/ 31 h 359"/>
                <a:gd name="T88" fmla="*/ 501 w 886"/>
                <a:gd name="T89" fmla="*/ 26 h 359"/>
                <a:gd name="T90" fmla="*/ 544 w 886"/>
                <a:gd name="T91" fmla="*/ 26 h 359"/>
                <a:gd name="T92" fmla="*/ 656 w 886"/>
                <a:gd name="T93" fmla="*/ 26 h 359"/>
                <a:gd name="T94" fmla="*/ 685 w 886"/>
                <a:gd name="T95" fmla="*/ 15 h 359"/>
                <a:gd name="T96" fmla="*/ 705 w 886"/>
                <a:gd name="T97" fmla="*/ 14 h 359"/>
                <a:gd name="T98" fmla="*/ 732 w 886"/>
                <a:gd name="T99" fmla="*/ 21 h 359"/>
                <a:gd name="T100" fmla="*/ 885 w 886"/>
                <a:gd name="T101" fmla="*/ 21 h 359"/>
                <a:gd name="T102" fmla="*/ 886 w 886"/>
                <a:gd name="T103" fmla="*/ 32 h 359"/>
                <a:gd name="T104" fmla="*/ 715 w 886"/>
                <a:gd name="T105" fmla="*/ 46 h 359"/>
                <a:gd name="T106" fmla="*/ 730 w 886"/>
                <a:gd name="T107" fmla="*/ 86 h 359"/>
                <a:gd name="T108" fmla="*/ 721 w 886"/>
                <a:gd name="T109" fmla="*/ 110 h 359"/>
                <a:gd name="T110" fmla="*/ 695 w 886"/>
                <a:gd name="T111" fmla="*/ 112 h 359"/>
                <a:gd name="T112" fmla="*/ 533 w 886"/>
                <a:gd name="T113" fmla="*/ 143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86" h="359">
                  <a:moveTo>
                    <a:pt x="533" y="143"/>
                  </a:moveTo>
                  <a:cubicBezTo>
                    <a:pt x="594" y="203"/>
                    <a:pt x="585" y="276"/>
                    <a:pt x="587" y="347"/>
                  </a:cubicBezTo>
                  <a:cubicBezTo>
                    <a:pt x="587" y="350"/>
                    <a:pt x="582" y="355"/>
                    <a:pt x="580" y="359"/>
                  </a:cubicBezTo>
                  <a:cubicBezTo>
                    <a:pt x="576" y="355"/>
                    <a:pt x="570" y="351"/>
                    <a:pt x="570" y="347"/>
                  </a:cubicBezTo>
                  <a:cubicBezTo>
                    <a:pt x="567" y="316"/>
                    <a:pt x="568" y="285"/>
                    <a:pt x="563" y="255"/>
                  </a:cubicBezTo>
                  <a:cubicBezTo>
                    <a:pt x="559" y="230"/>
                    <a:pt x="550" y="207"/>
                    <a:pt x="541" y="183"/>
                  </a:cubicBezTo>
                  <a:cubicBezTo>
                    <a:pt x="536" y="170"/>
                    <a:pt x="523" y="167"/>
                    <a:pt x="509" y="173"/>
                  </a:cubicBezTo>
                  <a:cubicBezTo>
                    <a:pt x="508" y="178"/>
                    <a:pt x="508" y="183"/>
                    <a:pt x="507" y="188"/>
                  </a:cubicBezTo>
                  <a:cubicBezTo>
                    <a:pt x="505" y="209"/>
                    <a:pt x="499" y="214"/>
                    <a:pt x="479" y="213"/>
                  </a:cubicBezTo>
                  <a:cubicBezTo>
                    <a:pt x="456" y="212"/>
                    <a:pt x="434" y="211"/>
                    <a:pt x="411" y="211"/>
                  </a:cubicBezTo>
                  <a:cubicBezTo>
                    <a:pt x="384" y="211"/>
                    <a:pt x="383" y="210"/>
                    <a:pt x="380" y="183"/>
                  </a:cubicBezTo>
                  <a:cubicBezTo>
                    <a:pt x="379" y="181"/>
                    <a:pt x="379" y="178"/>
                    <a:pt x="378" y="175"/>
                  </a:cubicBezTo>
                  <a:cubicBezTo>
                    <a:pt x="363" y="168"/>
                    <a:pt x="353" y="173"/>
                    <a:pt x="345" y="186"/>
                  </a:cubicBezTo>
                  <a:cubicBezTo>
                    <a:pt x="326" y="217"/>
                    <a:pt x="323" y="250"/>
                    <a:pt x="320" y="284"/>
                  </a:cubicBezTo>
                  <a:cubicBezTo>
                    <a:pt x="318" y="304"/>
                    <a:pt x="319" y="324"/>
                    <a:pt x="317" y="344"/>
                  </a:cubicBezTo>
                  <a:cubicBezTo>
                    <a:pt x="316" y="349"/>
                    <a:pt x="311" y="354"/>
                    <a:pt x="308" y="359"/>
                  </a:cubicBezTo>
                  <a:cubicBezTo>
                    <a:pt x="305" y="354"/>
                    <a:pt x="300" y="349"/>
                    <a:pt x="300" y="345"/>
                  </a:cubicBezTo>
                  <a:cubicBezTo>
                    <a:pt x="302" y="305"/>
                    <a:pt x="302" y="263"/>
                    <a:pt x="309" y="224"/>
                  </a:cubicBezTo>
                  <a:cubicBezTo>
                    <a:pt x="315" y="196"/>
                    <a:pt x="333" y="170"/>
                    <a:pt x="346" y="141"/>
                  </a:cubicBezTo>
                  <a:cubicBezTo>
                    <a:pt x="334" y="138"/>
                    <a:pt x="317" y="134"/>
                    <a:pt x="300" y="129"/>
                  </a:cubicBezTo>
                  <a:cubicBezTo>
                    <a:pt x="260" y="116"/>
                    <a:pt x="219" y="107"/>
                    <a:pt x="175" y="110"/>
                  </a:cubicBezTo>
                  <a:cubicBezTo>
                    <a:pt x="169" y="111"/>
                    <a:pt x="161" y="104"/>
                    <a:pt x="154" y="100"/>
                  </a:cubicBezTo>
                  <a:cubicBezTo>
                    <a:pt x="158" y="93"/>
                    <a:pt x="163" y="87"/>
                    <a:pt x="165" y="80"/>
                  </a:cubicBezTo>
                  <a:cubicBezTo>
                    <a:pt x="169" y="68"/>
                    <a:pt x="171" y="56"/>
                    <a:pt x="173" y="46"/>
                  </a:cubicBezTo>
                  <a:cubicBezTo>
                    <a:pt x="115" y="41"/>
                    <a:pt x="58" y="37"/>
                    <a:pt x="0" y="32"/>
                  </a:cubicBezTo>
                  <a:cubicBezTo>
                    <a:pt x="0" y="30"/>
                    <a:pt x="0" y="29"/>
                    <a:pt x="0" y="27"/>
                  </a:cubicBezTo>
                  <a:cubicBezTo>
                    <a:pt x="3" y="27"/>
                    <a:pt x="5" y="25"/>
                    <a:pt x="8" y="25"/>
                  </a:cubicBezTo>
                  <a:cubicBezTo>
                    <a:pt x="60" y="24"/>
                    <a:pt x="112" y="23"/>
                    <a:pt x="164" y="22"/>
                  </a:cubicBezTo>
                  <a:cubicBezTo>
                    <a:pt x="192" y="0"/>
                    <a:pt x="218" y="30"/>
                    <a:pt x="247" y="27"/>
                  </a:cubicBezTo>
                  <a:cubicBezTo>
                    <a:pt x="286" y="22"/>
                    <a:pt x="325" y="26"/>
                    <a:pt x="365" y="26"/>
                  </a:cubicBezTo>
                  <a:cubicBezTo>
                    <a:pt x="371" y="26"/>
                    <a:pt x="378" y="26"/>
                    <a:pt x="384" y="26"/>
                  </a:cubicBezTo>
                  <a:cubicBezTo>
                    <a:pt x="385" y="28"/>
                    <a:pt x="385" y="29"/>
                    <a:pt x="385" y="31"/>
                  </a:cubicBezTo>
                  <a:cubicBezTo>
                    <a:pt x="327" y="34"/>
                    <a:pt x="268" y="36"/>
                    <a:pt x="209" y="39"/>
                  </a:cubicBezTo>
                  <a:cubicBezTo>
                    <a:pt x="210" y="43"/>
                    <a:pt x="211" y="47"/>
                    <a:pt x="212" y="50"/>
                  </a:cubicBezTo>
                  <a:cubicBezTo>
                    <a:pt x="213" y="60"/>
                    <a:pt x="212" y="76"/>
                    <a:pt x="217" y="78"/>
                  </a:cubicBezTo>
                  <a:cubicBezTo>
                    <a:pt x="228" y="83"/>
                    <a:pt x="241" y="81"/>
                    <a:pt x="254" y="81"/>
                  </a:cubicBezTo>
                  <a:cubicBezTo>
                    <a:pt x="274" y="80"/>
                    <a:pt x="294" y="80"/>
                    <a:pt x="314" y="77"/>
                  </a:cubicBezTo>
                  <a:cubicBezTo>
                    <a:pt x="331" y="75"/>
                    <a:pt x="349" y="70"/>
                    <a:pt x="367" y="67"/>
                  </a:cubicBezTo>
                  <a:cubicBezTo>
                    <a:pt x="369" y="66"/>
                    <a:pt x="372" y="65"/>
                    <a:pt x="375" y="65"/>
                  </a:cubicBezTo>
                  <a:cubicBezTo>
                    <a:pt x="420" y="65"/>
                    <a:pt x="468" y="56"/>
                    <a:pt x="512" y="67"/>
                  </a:cubicBezTo>
                  <a:cubicBezTo>
                    <a:pt x="556" y="78"/>
                    <a:pt x="600" y="75"/>
                    <a:pt x="643" y="81"/>
                  </a:cubicBezTo>
                  <a:cubicBezTo>
                    <a:pt x="670" y="85"/>
                    <a:pt x="670" y="83"/>
                    <a:pt x="674" y="56"/>
                  </a:cubicBezTo>
                  <a:cubicBezTo>
                    <a:pt x="675" y="51"/>
                    <a:pt x="677" y="46"/>
                    <a:pt x="679" y="39"/>
                  </a:cubicBezTo>
                  <a:cubicBezTo>
                    <a:pt x="619" y="36"/>
                    <a:pt x="560" y="34"/>
                    <a:pt x="501" y="31"/>
                  </a:cubicBezTo>
                  <a:cubicBezTo>
                    <a:pt x="501" y="29"/>
                    <a:pt x="501" y="28"/>
                    <a:pt x="501" y="26"/>
                  </a:cubicBezTo>
                  <a:cubicBezTo>
                    <a:pt x="515" y="26"/>
                    <a:pt x="529" y="26"/>
                    <a:pt x="544" y="26"/>
                  </a:cubicBezTo>
                  <a:cubicBezTo>
                    <a:pt x="581" y="26"/>
                    <a:pt x="618" y="26"/>
                    <a:pt x="656" y="26"/>
                  </a:cubicBezTo>
                  <a:cubicBezTo>
                    <a:pt x="666" y="26"/>
                    <a:pt x="678" y="28"/>
                    <a:pt x="685" y="15"/>
                  </a:cubicBezTo>
                  <a:cubicBezTo>
                    <a:pt x="687" y="12"/>
                    <a:pt x="698" y="13"/>
                    <a:pt x="705" y="14"/>
                  </a:cubicBezTo>
                  <a:cubicBezTo>
                    <a:pt x="714" y="16"/>
                    <a:pt x="723" y="21"/>
                    <a:pt x="732" y="21"/>
                  </a:cubicBezTo>
                  <a:cubicBezTo>
                    <a:pt x="783" y="22"/>
                    <a:pt x="834" y="21"/>
                    <a:pt x="885" y="21"/>
                  </a:cubicBezTo>
                  <a:cubicBezTo>
                    <a:pt x="885" y="25"/>
                    <a:pt x="886" y="28"/>
                    <a:pt x="886" y="32"/>
                  </a:cubicBezTo>
                  <a:cubicBezTo>
                    <a:pt x="829" y="36"/>
                    <a:pt x="773" y="41"/>
                    <a:pt x="715" y="46"/>
                  </a:cubicBezTo>
                  <a:cubicBezTo>
                    <a:pt x="720" y="57"/>
                    <a:pt x="708" y="76"/>
                    <a:pt x="730" y="86"/>
                  </a:cubicBezTo>
                  <a:cubicBezTo>
                    <a:pt x="739" y="90"/>
                    <a:pt x="732" y="107"/>
                    <a:pt x="721" y="110"/>
                  </a:cubicBezTo>
                  <a:cubicBezTo>
                    <a:pt x="712" y="111"/>
                    <a:pt x="703" y="113"/>
                    <a:pt x="695" y="112"/>
                  </a:cubicBezTo>
                  <a:cubicBezTo>
                    <a:pt x="639" y="105"/>
                    <a:pt x="590" y="129"/>
                    <a:pt x="533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02577EC0-ADA4-90C7-CE6D-0436DBACF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5" y="6241179"/>
              <a:ext cx="277813" cy="90487"/>
            </a:xfrm>
            <a:custGeom>
              <a:avLst/>
              <a:gdLst>
                <a:gd name="T0" fmla="*/ 0 w 188"/>
                <a:gd name="T1" fmla="*/ 8 h 61"/>
                <a:gd name="T2" fmla="*/ 10 w 188"/>
                <a:gd name="T3" fmla="*/ 0 h 61"/>
                <a:gd name="T4" fmla="*/ 166 w 188"/>
                <a:gd name="T5" fmla="*/ 8 h 61"/>
                <a:gd name="T6" fmla="*/ 188 w 188"/>
                <a:gd name="T7" fmla="*/ 5 h 61"/>
                <a:gd name="T8" fmla="*/ 0 w 188"/>
                <a:gd name="T9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61">
                  <a:moveTo>
                    <a:pt x="0" y="8"/>
                  </a:moveTo>
                  <a:cubicBezTo>
                    <a:pt x="4" y="5"/>
                    <a:pt x="7" y="3"/>
                    <a:pt x="10" y="0"/>
                  </a:cubicBezTo>
                  <a:cubicBezTo>
                    <a:pt x="69" y="42"/>
                    <a:pt x="107" y="44"/>
                    <a:pt x="166" y="8"/>
                  </a:cubicBezTo>
                  <a:cubicBezTo>
                    <a:pt x="170" y="5"/>
                    <a:pt x="177" y="6"/>
                    <a:pt x="188" y="5"/>
                  </a:cubicBezTo>
                  <a:cubicBezTo>
                    <a:pt x="142" y="61"/>
                    <a:pt x="49" y="61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678AB4B3-D5C5-0E57-7034-176791B31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47" y="6211016"/>
              <a:ext cx="201613" cy="66675"/>
            </a:xfrm>
            <a:custGeom>
              <a:avLst/>
              <a:gdLst>
                <a:gd name="T0" fmla="*/ 136 w 136"/>
                <a:gd name="T1" fmla="*/ 3 h 45"/>
                <a:gd name="T2" fmla="*/ 6 w 136"/>
                <a:gd name="T3" fmla="*/ 16 h 45"/>
                <a:gd name="T4" fmla="*/ 0 w 136"/>
                <a:gd name="T5" fmla="*/ 2 h 45"/>
                <a:gd name="T6" fmla="*/ 14 w 136"/>
                <a:gd name="T7" fmla="*/ 3 h 45"/>
                <a:gd name="T8" fmla="*/ 115 w 136"/>
                <a:gd name="T9" fmla="*/ 3 h 45"/>
                <a:gd name="T10" fmla="*/ 136 w 136"/>
                <a:gd name="T11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45">
                  <a:moveTo>
                    <a:pt x="136" y="3"/>
                  </a:moveTo>
                  <a:cubicBezTo>
                    <a:pt x="98" y="41"/>
                    <a:pt x="41" y="45"/>
                    <a:pt x="6" y="16"/>
                  </a:cubicBezTo>
                  <a:cubicBezTo>
                    <a:pt x="2" y="13"/>
                    <a:pt x="2" y="7"/>
                    <a:pt x="0" y="2"/>
                  </a:cubicBezTo>
                  <a:cubicBezTo>
                    <a:pt x="5" y="3"/>
                    <a:pt x="11" y="1"/>
                    <a:pt x="14" y="3"/>
                  </a:cubicBezTo>
                  <a:cubicBezTo>
                    <a:pt x="48" y="25"/>
                    <a:pt x="81" y="27"/>
                    <a:pt x="115" y="3"/>
                  </a:cubicBezTo>
                  <a:cubicBezTo>
                    <a:pt x="118" y="0"/>
                    <a:pt x="126" y="3"/>
                    <a:pt x="13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" name="Freeform 47">
              <a:extLst>
                <a:ext uri="{FF2B5EF4-FFF2-40B4-BE49-F238E27FC236}">
                  <a16:creationId xmlns:a16="http://schemas.microsoft.com/office/drawing/2014/main" id="{DDEF9F8F-FBA7-4030-40DD-02D27CD0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97" y="6176091"/>
              <a:ext cx="128588" cy="47625"/>
            </a:xfrm>
            <a:custGeom>
              <a:avLst/>
              <a:gdLst>
                <a:gd name="T0" fmla="*/ 87 w 87"/>
                <a:gd name="T1" fmla="*/ 3 h 32"/>
                <a:gd name="T2" fmla="*/ 0 w 87"/>
                <a:gd name="T3" fmla="*/ 5 h 32"/>
                <a:gd name="T4" fmla="*/ 16 w 87"/>
                <a:gd name="T5" fmla="*/ 3 h 32"/>
                <a:gd name="T6" fmla="*/ 71 w 87"/>
                <a:gd name="T7" fmla="*/ 2 h 32"/>
                <a:gd name="T8" fmla="*/ 87 w 87"/>
                <a:gd name="T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32">
                  <a:moveTo>
                    <a:pt x="87" y="3"/>
                  </a:moveTo>
                  <a:cubicBezTo>
                    <a:pt x="57" y="31"/>
                    <a:pt x="37" y="32"/>
                    <a:pt x="0" y="5"/>
                  </a:cubicBezTo>
                  <a:cubicBezTo>
                    <a:pt x="6" y="4"/>
                    <a:pt x="12" y="1"/>
                    <a:pt x="16" y="3"/>
                  </a:cubicBezTo>
                  <a:cubicBezTo>
                    <a:pt x="35" y="12"/>
                    <a:pt x="53" y="12"/>
                    <a:pt x="71" y="2"/>
                  </a:cubicBezTo>
                  <a:cubicBezTo>
                    <a:pt x="75" y="0"/>
                    <a:pt x="82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B449AB9-1F2F-FEC4-7786-6C404C563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57679" y="2895861"/>
            <a:ext cx="279979" cy="279979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9B71ECAF-9D72-B07D-485A-79621CADDAAB}"/>
              </a:ext>
            </a:extLst>
          </p:cNvPr>
          <p:cNvSpPr txBox="1">
            <a:spLocks/>
          </p:cNvSpPr>
          <p:nvPr/>
        </p:nvSpPr>
        <p:spPr bwMode="auto">
          <a:xfrm>
            <a:off x="759125" y="1366283"/>
            <a:ext cx="11257600" cy="540000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46C67103-7291-5032-69BC-3A885A515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309555"/>
              </p:ext>
            </p:extLst>
          </p:nvPr>
        </p:nvGraphicFramePr>
        <p:xfrm>
          <a:off x="759125" y="1371483"/>
          <a:ext cx="11257600" cy="1894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653">
                  <a:extLst>
                    <a:ext uri="{9D8B030D-6E8A-4147-A177-3AD203B41FA5}">
                      <a16:colId xmlns:a16="http://schemas.microsoft.com/office/drawing/2014/main" val="3857112631"/>
                    </a:ext>
                  </a:extLst>
                </a:gridCol>
                <a:gridCol w="2825397">
                  <a:extLst>
                    <a:ext uri="{9D8B030D-6E8A-4147-A177-3AD203B41FA5}">
                      <a16:colId xmlns:a16="http://schemas.microsoft.com/office/drawing/2014/main" val="1896343123"/>
                    </a:ext>
                  </a:extLst>
                </a:gridCol>
                <a:gridCol w="830726">
                  <a:extLst>
                    <a:ext uri="{9D8B030D-6E8A-4147-A177-3AD203B41FA5}">
                      <a16:colId xmlns:a16="http://schemas.microsoft.com/office/drawing/2014/main" val="3481831168"/>
                    </a:ext>
                  </a:extLst>
                </a:gridCol>
                <a:gridCol w="830726">
                  <a:extLst>
                    <a:ext uri="{9D8B030D-6E8A-4147-A177-3AD203B41FA5}">
                      <a16:colId xmlns:a16="http://schemas.microsoft.com/office/drawing/2014/main" val="3358480111"/>
                    </a:ext>
                  </a:extLst>
                </a:gridCol>
                <a:gridCol w="1158343">
                  <a:extLst>
                    <a:ext uri="{9D8B030D-6E8A-4147-A177-3AD203B41FA5}">
                      <a16:colId xmlns:a16="http://schemas.microsoft.com/office/drawing/2014/main" val="3971664492"/>
                    </a:ext>
                  </a:extLst>
                </a:gridCol>
                <a:gridCol w="2104845">
                  <a:extLst>
                    <a:ext uri="{9D8B030D-6E8A-4147-A177-3AD203B41FA5}">
                      <a16:colId xmlns:a16="http://schemas.microsoft.com/office/drawing/2014/main" val="475175547"/>
                    </a:ext>
                  </a:extLst>
                </a:gridCol>
                <a:gridCol w="1630393">
                  <a:extLst>
                    <a:ext uri="{9D8B030D-6E8A-4147-A177-3AD203B41FA5}">
                      <a16:colId xmlns:a16="http://schemas.microsoft.com/office/drawing/2014/main" val="3448936700"/>
                    </a:ext>
                  </a:extLst>
                </a:gridCol>
                <a:gridCol w="845517">
                  <a:extLst>
                    <a:ext uri="{9D8B030D-6E8A-4147-A177-3AD203B41FA5}">
                      <a16:colId xmlns:a16="http://schemas.microsoft.com/office/drawing/2014/main" val="3270945312"/>
                    </a:ext>
                  </a:extLst>
                </a:gridCol>
              </a:tblGrid>
              <a:tr h="237830">
                <a:tc rowSpan="2"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</a:t>
                      </a:r>
                    </a:p>
                  </a:txBody>
                  <a:tcPr marL="95503" marR="95503" marT="47751" marB="47751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Объем будущих периодов законтрактован</a:t>
                      </a:r>
                    </a:p>
                  </a:txBody>
                  <a:tcPr marL="95503" marR="95503" marT="47751" marB="47751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инамика за неделю</a:t>
                      </a:r>
                    </a:p>
                  </a:txBody>
                  <a:tcPr marL="95503" marR="95503" marT="47751" marB="47751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нее изменение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ие плана 2024г., план/факт в ед.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й показатель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пуск измов</a:t>
                      </a:r>
                    </a:p>
                  </a:txBody>
                  <a:tcPr marL="95503" marR="95503" marT="47751" marB="477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261541"/>
                  </a:ext>
                </a:extLst>
              </a:tr>
              <a:tr h="2378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нтракт</a:t>
                      </a:r>
                    </a:p>
                  </a:txBody>
                  <a:tcPr marL="95503" marR="95503" marT="47751" marB="477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редача</a:t>
                      </a:r>
                    </a:p>
                  </a:txBody>
                  <a:tcPr marL="95503" marR="95503" marT="47751" marB="477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388188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С</a:t>
                      </a:r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006100"/>
                          </a:solidFill>
                        </a:rPr>
                        <a:t>+1</a:t>
                      </a:r>
                    </a:p>
                  </a:txBody>
                  <a:tcPr marL="3600" marR="3600" marT="3600" marB="3600" anchor="ctr"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49357"/>
                      <a:endParaRPr lang="ru-RU" sz="1800" dirty="0">
                        <a:solidFill>
                          <a:srgbClr val="23846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503" marR="95503" marT="47751" marB="47751" anchor="ctr"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заказчику (ед.)</a:t>
                      </a:r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64139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6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трактация ДКП (млн. руб.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59299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Ц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18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трактация 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млн. руб.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023312"/>
                  </a:ext>
                </a:extLst>
              </a:tr>
            </a:tbl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4260354D-FB77-509C-13B6-7C966AD17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510162"/>
              </p:ext>
            </p:extLst>
          </p:nvPr>
        </p:nvGraphicFramePr>
        <p:xfrm>
          <a:off x="1847849" y="1789065"/>
          <a:ext cx="2781301" cy="159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4" name="Соединительная линия уступом 3"/>
          <p:cNvCxnSpPr/>
          <p:nvPr/>
        </p:nvCxnSpPr>
        <p:spPr>
          <a:xfrm rot="10800000" flipV="1">
            <a:off x="400051" y="2116930"/>
            <a:ext cx="359075" cy="157109"/>
          </a:xfrm>
          <a:prstGeom prst="bentConnector3">
            <a:avLst>
              <a:gd name="adj1" fmla="val 9907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Соединительная линия уступом 7"/>
          <p:cNvCxnSpPr/>
          <p:nvPr/>
        </p:nvCxnSpPr>
        <p:spPr>
          <a:xfrm rot="10800000">
            <a:off x="400052" y="2521745"/>
            <a:ext cx="359075" cy="90487"/>
          </a:xfrm>
          <a:prstGeom prst="bentConnector3">
            <a:avLst>
              <a:gd name="adj1" fmla="val 1004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A9C8AB8-3636-CA95-FF90-EC487622D0F8}"/>
              </a:ext>
            </a:extLst>
          </p:cNvPr>
          <p:cNvSpPr txBox="1"/>
          <p:nvPr/>
        </p:nvSpPr>
        <p:spPr bwMode="auto">
          <a:xfrm>
            <a:off x="1158722" y="3530006"/>
            <a:ext cx="54494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Накопительный график приемок\передач по госпрограммам </a:t>
            </a:r>
          </a:p>
          <a:p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с еженедельным приростом, %</a:t>
            </a:r>
            <a:endParaRPr lang="ru-RU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994C4F6D-1D0F-BFEE-CFCB-0C36E725A7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5695805"/>
              </p:ext>
            </p:extLst>
          </p:nvPr>
        </p:nvGraphicFramePr>
        <p:xfrm>
          <a:off x="7380688" y="1787873"/>
          <a:ext cx="2220512" cy="1596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63A941DA-191D-062F-62FE-2DC0D33F30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7925592"/>
              </p:ext>
            </p:extLst>
          </p:nvPr>
        </p:nvGraphicFramePr>
        <p:xfrm>
          <a:off x="257679" y="3850572"/>
          <a:ext cx="11638852" cy="251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41141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1)</a:t>
            </a:r>
            <a:endParaRPr dirty="0"/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61461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округам</a:t>
            </a:r>
            <a:endParaRPr lang="ru-RU" sz="11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573245271"/>
              </p:ext>
            </p:extLst>
          </p:nvPr>
        </p:nvGraphicFramePr>
        <p:xfrm>
          <a:off x="171450" y="1594600"/>
          <a:ext cx="7564687" cy="42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42446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2)</a:t>
            </a:r>
            <a:endParaRPr dirty="0"/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61461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округам</a:t>
            </a:r>
            <a:endParaRPr lang="ru-RU" sz="11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178862953"/>
              </p:ext>
            </p:extLst>
          </p:nvPr>
        </p:nvGraphicFramePr>
        <p:xfrm>
          <a:off x="171450" y="1594600"/>
          <a:ext cx="7564687" cy="42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9532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9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grpSp>
        <p:nvGrpSpPr>
          <p:cNvPr id="164" name="Группа 163"/>
          <p:cNvGrpSpPr/>
          <p:nvPr/>
        </p:nvGrpSpPr>
        <p:grpSpPr>
          <a:xfrm>
            <a:off x="164811" y="1766938"/>
            <a:ext cx="7471084" cy="3920287"/>
            <a:chOff x="362780" y="526342"/>
            <a:chExt cx="11140877" cy="5845949"/>
          </a:xfrm>
          <a:noFill/>
        </p:grpSpPr>
        <p:sp>
          <p:nvSpPr>
            <p:cNvPr id="165" name="Новая Земля и Земля Франца-Иосифа">
              <a:extLst>
                <a:ext uri="{FF2B5EF4-FFF2-40B4-BE49-F238E27FC236}">
                  <a16:creationId xmlns:a16="http://schemas.microsoft.com/office/drawing/2014/main" id="{A95C4D5F-6C27-F406-275C-24DFFC221E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3985" y="1432725"/>
              <a:ext cx="1218294" cy="1571368"/>
            </a:xfrm>
            <a:custGeom>
              <a:avLst/>
              <a:gdLst>
                <a:gd name="T0" fmla="*/ 126 w 229"/>
                <a:gd name="T1" fmla="*/ 16 h 331"/>
                <a:gd name="T2" fmla="*/ 140 w 229"/>
                <a:gd name="T3" fmla="*/ 12 h 331"/>
                <a:gd name="T4" fmla="*/ 123 w 229"/>
                <a:gd name="T5" fmla="*/ 3 h 331"/>
                <a:gd name="T6" fmla="*/ 171 w 229"/>
                <a:gd name="T7" fmla="*/ 48 h 331"/>
                <a:gd name="T8" fmla="*/ 173 w 229"/>
                <a:gd name="T9" fmla="*/ 58 h 331"/>
                <a:gd name="T10" fmla="*/ 187 w 229"/>
                <a:gd name="T11" fmla="*/ 52 h 331"/>
                <a:gd name="T12" fmla="*/ 206 w 229"/>
                <a:gd name="T13" fmla="*/ 50 h 331"/>
                <a:gd name="T14" fmla="*/ 227 w 229"/>
                <a:gd name="T15" fmla="*/ 51 h 331"/>
                <a:gd name="T16" fmla="*/ 212 w 229"/>
                <a:gd name="T17" fmla="*/ 46 h 331"/>
                <a:gd name="T18" fmla="*/ 211 w 229"/>
                <a:gd name="T19" fmla="*/ 39 h 331"/>
                <a:gd name="T20" fmla="*/ 201 w 229"/>
                <a:gd name="T21" fmla="*/ 43 h 331"/>
                <a:gd name="T22" fmla="*/ 188 w 229"/>
                <a:gd name="T23" fmla="*/ 50 h 331"/>
                <a:gd name="T24" fmla="*/ 171 w 229"/>
                <a:gd name="T25" fmla="*/ 48 h 331"/>
                <a:gd name="T26" fmla="*/ 171 w 229"/>
                <a:gd name="T27" fmla="*/ 24 h 331"/>
                <a:gd name="T28" fmla="*/ 181 w 229"/>
                <a:gd name="T29" fmla="*/ 22 h 331"/>
                <a:gd name="T30" fmla="*/ 192 w 229"/>
                <a:gd name="T31" fmla="*/ 15 h 331"/>
                <a:gd name="T32" fmla="*/ 194 w 229"/>
                <a:gd name="T33" fmla="*/ 22 h 331"/>
                <a:gd name="T34" fmla="*/ 188 w 229"/>
                <a:gd name="T35" fmla="*/ 35 h 331"/>
                <a:gd name="T36" fmla="*/ 172 w 229"/>
                <a:gd name="T37" fmla="*/ 34 h 331"/>
                <a:gd name="T38" fmla="*/ 125 w 229"/>
                <a:gd name="T39" fmla="*/ 22 h 331"/>
                <a:gd name="T40" fmla="*/ 138 w 229"/>
                <a:gd name="T41" fmla="*/ 21 h 331"/>
                <a:gd name="T42" fmla="*/ 153 w 229"/>
                <a:gd name="T43" fmla="*/ 18 h 331"/>
                <a:gd name="T44" fmla="*/ 143 w 229"/>
                <a:gd name="T45" fmla="*/ 28 h 331"/>
                <a:gd name="T46" fmla="*/ 126 w 229"/>
                <a:gd name="T47" fmla="*/ 31 h 331"/>
                <a:gd name="T48" fmla="*/ 125 w 229"/>
                <a:gd name="T49" fmla="*/ 22 h 331"/>
                <a:gd name="T50" fmla="*/ 21 w 229"/>
                <a:gd name="T51" fmla="*/ 263 h 331"/>
                <a:gd name="T52" fmla="*/ 1 w 229"/>
                <a:gd name="T53" fmla="*/ 272 h 331"/>
                <a:gd name="T54" fmla="*/ 10 w 229"/>
                <a:gd name="T55" fmla="*/ 285 h 331"/>
                <a:gd name="T56" fmla="*/ 3 w 229"/>
                <a:gd name="T57" fmla="*/ 297 h 331"/>
                <a:gd name="T58" fmla="*/ 14 w 229"/>
                <a:gd name="T59" fmla="*/ 290 h 331"/>
                <a:gd name="T60" fmla="*/ 6 w 229"/>
                <a:gd name="T61" fmla="*/ 306 h 331"/>
                <a:gd name="T62" fmla="*/ 21 w 229"/>
                <a:gd name="T63" fmla="*/ 323 h 331"/>
                <a:gd name="T64" fmla="*/ 40 w 229"/>
                <a:gd name="T65" fmla="*/ 323 h 331"/>
                <a:gd name="T66" fmla="*/ 39 w 229"/>
                <a:gd name="T67" fmla="*/ 292 h 331"/>
                <a:gd name="T68" fmla="*/ 55 w 229"/>
                <a:gd name="T69" fmla="*/ 265 h 331"/>
                <a:gd name="T70" fmla="*/ 76 w 229"/>
                <a:gd name="T71" fmla="*/ 253 h 331"/>
                <a:gd name="T72" fmla="*/ 105 w 229"/>
                <a:gd name="T73" fmla="*/ 231 h 331"/>
                <a:gd name="T74" fmla="*/ 134 w 229"/>
                <a:gd name="T75" fmla="*/ 214 h 331"/>
                <a:gd name="T76" fmla="*/ 188 w 229"/>
                <a:gd name="T77" fmla="*/ 204 h 331"/>
                <a:gd name="T78" fmla="*/ 195 w 229"/>
                <a:gd name="T79" fmla="*/ 180 h 331"/>
                <a:gd name="T80" fmla="*/ 158 w 229"/>
                <a:gd name="T81" fmla="*/ 190 h 331"/>
                <a:gd name="T82" fmla="*/ 124 w 229"/>
                <a:gd name="T83" fmla="*/ 188 h 331"/>
                <a:gd name="T84" fmla="*/ 93 w 229"/>
                <a:gd name="T85" fmla="*/ 200 h 331"/>
                <a:gd name="T86" fmla="*/ 79 w 229"/>
                <a:gd name="T87" fmla="*/ 214 h 331"/>
                <a:gd name="T88" fmla="*/ 53 w 229"/>
                <a:gd name="T89" fmla="*/ 227 h 331"/>
                <a:gd name="T90" fmla="*/ 48 w 229"/>
                <a:gd name="T91" fmla="*/ 242 h 331"/>
                <a:gd name="T92" fmla="*/ 30 w 229"/>
                <a:gd name="T93" fmla="*/ 2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" h="331">
                  <a:moveTo>
                    <a:pt x="123" y="10"/>
                  </a:moveTo>
                  <a:cubicBezTo>
                    <a:pt x="124" y="12"/>
                    <a:pt x="122" y="18"/>
                    <a:pt x="126" y="16"/>
                  </a:cubicBezTo>
                  <a:cubicBezTo>
                    <a:pt x="130" y="15"/>
                    <a:pt x="134" y="12"/>
                    <a:pt x="135" y="14"/>
                  </a:cubicBezTo>
                  <a:cubicBezTo>
                    <a:pt x="136" y="16"/>
                    <a:pt x="143" y="16"/>
                    <a:pt x="140" y="12"/>
                  </a:cubicBezTo>
                  <a:cubicBezTo>
                    <a:pt x="138" y="8"/>
                    <a:pt x="132" y="7"/>
                    <a:pt x="129" y="7"/>
                  </a:cubicBezTo>
                  <a:cubicBezTo>
                    <a:pt x="127" y="7"/>
                    <a:pt x="124" y="0"/>
                    <a:pt x="123" y="3"/>
                  </a:cubicBezTo>
                  <a:cubicBezTo>
                    <a:pt x="122" y="6"/>
                    <a:pt x="123" y="10"/>
                    <a:pt x="123" y="10"/>
                  </a:cubicBezTo>
                  <a:close/>
                  <a:moveTo>
                    <a:pt x="171" y="48"/>
                  </a:moveTo>
                  <a:cubicBezTo>
                    <a:pt x="169" y="48"/>
                    <a:pt x="164" y="51"/>
                    <a:pt x="166" y="55"/>
                  </a:cubicBezTo>
                  <a:cubicBezTo>
                    <a:pt x="167" y="58"/>
                    <a:pt x="170" y="59"/>
                    <a:pt x="173" y="58"/>
                  </a:cubicBezTo>
                  <a:cubicBezTo>
                    <a:pt x="176" y="57"/>
                    <a:pt x="179" y="60"/>
                    <a:pt x="180" y="58"/>
                  </a:cubicBezTo>
                  <a:cubicBezTo>
                    <a:pt x="182" y="55"/>
                    <a:pt x="185" y="49"/>
                    <a:pt x="187" y="52"/>
                  </a:cubicBezTo>
                  <a:cubicBezTo>
                    <a:pt x="189" y="54"/>
                    <a:pt x="195" y="58"/>
                    <a:pt x="197" y="58"/>
                  </a:cubicBezTo>
                  <a:cubicBezTo>
                    <a:pt x="200" y="58"/>
                    <a:pt x="202" y="51"/>
                    <a:pt x="206" y="50"/>
                  </a:cubicBezTo>
                  <a:cubicBezTo>
                    <a:pt x="210" y="49"/>
                    <a:pt x="211" y="55"/>
                    <a:pt x="214" y="56"/>
                  </a:cubicBezTo>
                  <a:cubicBezTo>
                    <a:pt x="217" y="57"/>
                    <a:pt x="225" y="58"/>
                    <a:pt x="227" y="51"/>
                  </a:cubicBezTo>
                  <a:cubicBezTo>
                    <a:pt x="229" y="45"/>
                    <a:pt x="228" y="39"/>
                    <a:pt x="225" y="41"/>
                  </a:cubicBezTo>
                  <a:cubicBezTo>
                    <a:pt x="221" y="42"/>
                    <a:pt x="214" y="46"/>
                    <a:pt x="212" y="46"/>
                  </a:cubicBezTo>
                  <a:cubicBezTo>
                    <a:pt x="210" y="46"/>
                    <a:pt x="207" y="48"/>
                    <a:pt x="206" y="45"/>
                  </a:cubicBezTo>
                  <a:cubicBezTo>
                    <a:pt x="205" y="43"/>
                    <a:pt x="212" y="43"/>
                    <a:pt x="211" y="39"/>
                  </a:cubicBezTo>
                  <a:cubicBezTo>
                    <a:pt x="210" y="35"/>
                    <a:pt x="201" y="35"/>
                    <a:pt x="200" y="37"/>
                  </a:cubicBezTo>
                  <a:cubicBezTo>
                    <a:pt x="200" y="40"/>
                    <a:pt x="204" y="42"/>
                    <a:pt x="201" y="43"/>
                  </a:cubicBezTo>
                  <a:cubicBezTo>
                    <a:pt x="198" y="44"/>
                    <a:pt x="199" y="42"/>
                    <a:pt x="195" y="43"/>
                  </a:cubicBezTo>
                  <a:cubicBezTo>
                    <a:pt x="190" y="44"/>
                    <a:pt x="191" y="49"/>
                    <a:pt x="188" y="50"/>
                  </a:cubicBezTo>
                  <a:cubicBezTo>
                    <a:pt x="186" y="50"/>
                    <a:pt x="182" y="49"/>
                    <a:pt x="180" y="49"/>
                  </a:cubicBezTo>
                  <a:cubicBezTo>
                    <a:pt x="178" y="49"/>
                    <a:pt x="171" y="48"/>
                    <a:pt x="171" y="48"/>
                  </a:cubicBezTo>
                  <a:close/>
                  <a:moveTo>
                    <a:pt x="168" y="28"/>
                  </a:moveTo>
                  <a:cubicBezTo>
                    <a:pt x="168" y="28"/>
                    <a:pt x="172" y="27"/>
                    <a:pt x="171" y="24"/>
                  </a:cubicBezTo>
                  <a:cubicBezTo>
                    <a:pt x="170" y="21"/>
                    <a:pt x="176" y="21"/>
                    <a:pt x="176" y="21"/>
                  </a:cubicBezTo>
                  <a:cubicBezTo>
                    <a:pt x="176" y="21"/>
                    <a:pt x="177" y="23"/>
                    <a:pt x="181" y="22"/>
                  </a:cubicBezTo>
                  <a:cubicBezTo>
                    <a:pt x="184" y="20"/>
                    <a:pt x="181" y="18"/>
                    <a:pt x="183" y="18"/>
                  </a:cubicBezTo>
                  <a:cubicBezTo>
                    <a:pt x="185" y="18"/>
                    <a:pt x="191" y="17"/>
                    <a:pt x="192" y="15"/>
                  </a:cubicBezTo>
                  <a:cubicBezTo>
                    <a:pt x="193" y="12"/>
                    <a:pt x="196" y="13"/>
                    <a:pt x="199" y="18"/>
                  </a:cubicBezTo>
                  <a:cubicBezTo>
                    <a:pt x="201" y="23"/>
                    <a:pt x="196" y="23"/>
                    <a:pt x="194" y="22"/>
                  </a:cubicBezTo>
                  <a:cubicBezTo>
                    <a:pt x="192" y="21"/>
                    <a:pt x="191" y="24"/>
                    <a:pt x="189" y="27"/>
                  </a:cubicBezTo>
                  <a:cubicBezTo>
                    <a:pt x="187" y="30"/>
                    <a:pt x="189" y="31"/>
                    <a:pt x="188" y="35"/>
                  </a:cubicBezTo>
                  <a:cubicBezTo>
                    <a:pt x="186" y="38"/>
                    <a:pt x="182" y="41"/>
                    <a:pt x="178" y="41"/>
                  </a:cubicBezTo>
                  <a:cubicBezTo>
                    <a:pt x="175" y="41"/>
                    <a:pt x="174" y="38"/>
                    <a:pt x="172" y="34"/>
                  </a:cubicBezTo>
                  <a:cubicBezTo>
                    <a:pt x="171" y="30"/>
                    <a:pt x="165" y="29"/>
                    <a:pt x="168" y="28"/>
                  </a:cubicBezTo>
                  <a:close/>
                  <a:moveTo>
                    <a:pt x="125" y="22"/>
                  </a:moveTo>
                  <a:cubicBezTo>
                    <a:pt x="126" y="23"/>
                    <a:pt x="130" y="22"/>
                    <a:pt x="130" y="20"/>
                  </a:cubicBezTo>
                  <a:cubicBezTo>
                    <a:pt x="131" y="17"/>
                    <a:pt x="136" y="19"/>
                    <a:pt x="138" y="21"/>
                  </a:cubicBezTo>
                  <a:cubicBezTo>
                    <a:pt x="140" y="23"/>
                    <a:pt x="144" y="20"/>
                    <a:pt x="145" y="16"/>
                  </a:cubicBezTo>
                  <a:cubicBezTo>
                    <a:pt x="146" y="12"/>
                    <a:pt x="154" y="16"/>
                    <a:pt x="153" y="18"/>
                  </a:cubicBezTo>
                  <a:cubicBezTo>
                    <a:pt x="152" y="21"/>
                    <a:pt x="154" y="22"/>
                    <a:pt x="154" y="24"/>
                  </a:cubicBezTo>
                  <a:cubicBezTo>
                    <a:pt x="153" y="25"/>
                    <a:pt x="146" y="28"/>
                    <a:pt x="143" y="28"/>
                  </a:cubicBezTo>
                  <a:cubicBezTo>
                    <a:pt x="140" y="28"/>
                    <a:pt x="138" y="31"/>
                    <a:pt x="135" y="32"/>
                  </a:cubicBezTo>
                  <a:cubicBezTo>
                    <a:pt x="132" y="34"/>
                    <a:pt x="128" y="34"/>
                    <a:pt x="126" y="31"/>
                  </a:cubicBezTo>
                  <a:cubicBezTo>
                    <a:pt x="123" y="28"/>
                    <a:pt x="120" y="28"/>
                    <a:pt x="121" y="25"/>
                  </a:cubicBezTo>
                  <a:cubicBezTo>
                    <a:pt x="122" y="22"/>
                    <a:pt x="125" y="22"/>
                    <a:pt x="125" y="22"/>
                  </a:cubicBezTo>
                  <a:close/>
                  <a:moveTo>
                    <a:pt x="27" y="254"/>
                  </a:moveTo>
                  <a:cubicBezTo>
                    <a:pt x="24" y="257"/>
                    <a:pt x="25" y="261"/>
                    <a:pt x="21" y="263"/>
                  </a:cubicBezTo>
                  <a:cubicBezTo>
                    <a:pt x="16" y="265"/>
                    <a:pt x="16" y="265"/>
                    <a:pt x="11" y="263"/>
                  </a:cubicBezTo>
                  <a:cubicBezTo>
                    <a:pt x="7" y="261"/>
                    <a:pt x="3" y="269"/>
                    <a:pt x="1" y="272"/>
                  </a:cubicBezTo>
                  <a:cubicBezTo>
                    <a:pt x="0" y="276"/>
                    <a:pt x="1" y="281"/>
                    <a:pt x="3" y="281"/>
                  </a:cubicBezTo>
                  <a:cubicBezTo>
                    <a:pt x="6" y="281"/>
                    <a:pt x="10" y="284"/>
                    <a:pt x="10" y="285"/>
                  </a:cubicBezTo>
                  <a:cubicBezTo>
                    <a:pt x="11" y="286"/>
                    <a:pt x="7" y="282"/>
                    <a:pt x="4" y="286"/>
                  </a:cubicBezTo>
                  <a:cubicBezTo>
                    <a:pt x="1" y="291"/>
                    <a:pt x="2" y="296"/>
                    <a:pt x="3" y="297"/>
                  </a:cubicBezTo>
                  <a:cubicBezTo>
                    <a:pt x="4" y="299"/>
                    <a:pt x="10" y="293"/>
                    <a:pt x="11" y="290"/>
                  </a:cubicBezTo>
                  <a:cubicBezTo>
                    <a:pt x="11" y="287"/>
                    <a:pt x="13" y="287"/>
                    <a:pt x="14" y="290"/>
                  </a:cubicBezTo>
                  <a:cubicBezTo>
                    <a:pt x="14" y="293"/>
                    <a:pt x="15" y="299"/>
                    <a:pt x="12" y="301"/>
                  </a:cubicBezTo>
                  <a:cubicBezTo>
                    <a:pt x="9" y="302"/>
                    <a:pt x="6" y="304"/>
                    <a:pt x="6" y="306"/>
                  </a:cubicBezTo>
                  <a:cubicBezTo>
                    <a:pt x="7" y="309"/>
                    <a:pt x="10" y="314"/>
                    <a:pt x="11" y="315"/>
                  </a:cubicBezTo>
                  <a:cubicBezTo>
                    <a:pt x="13" y="316"/>
                    <a:pt x="18" y="320"/>
                    <a:pt x="21" y="323"/>
                  </a:cubicBezTo>
                  <a:cubicBezTo>
                    <a:pt x="25" y="326"/>
                    <a:pt x="31" y="328"/>
                    <a:pt x="33" y="330"/>
                  </a:cubicBezTo>
                  <a:cubicBezTo>
                    <a:pt x="36" y="331"/>
                    <a:pt x="44" y="329"/>
                    <a:pt x="40" y="323"/>
                  </a:cubicBezTo>
                  <a:cubicBezTo>
                    <a:pt x="36" y="318"/>
                    <a:pt x="36" y="310"/>
                    <a:pt x="37" y="306"/>
                  </a:cubicBezTo>
                  <a:cubicBezTo>
                    <a:pt x="37" y="303"/>
                    <a:pt x="38" y="298"/>
                    <a:pt x="39" y="292"/>
                  </a:cubicBezTo>
                  <a:cubicBezTo>
                    <a:pt x="39" y="287"/>
                    <a:pt x="39" y="282"/>
                    <a:pt x="43" y="277"/>
                  </a:cubicBezTo>
                  <a:cubicBezTo>
                    <a:pt x="47" y="273"/>
                    <a:pt x="50" y="269"/>
                    <a:pt x="55" y="265"/>
                  </a:cubicBezTo>
                  <a:cubicBezTo>
                    <a:pt x="59" y="260"/>
                    <a:pt x="63" y="259"/>
                    <a:pt x="65" y="256"/>
                  </a:cubicBezTo>
                  <a:cubicBezTo>
                    <a:pt x="67" y="254"/>
                    <a:pt x="74" y="255"/>
                    <a:pt x="76" y="253"/>
                  </a:cubicBezTo>
                  <a:cubicBezTo>
                    <a:pt x="77" y="251"/>
                    <a:pt x="90" y="241"/>
                    <a:pt x="93" y="239"/>
                  </a:cubicBezTo>
                  <a:cubicBezTo>
                    <a:pt x="96" y="237"/>
                    <a:pt x="103" y="232"/>
                    <a:pt x="105" y="231"/>
                  </a:cubicBezTo>
                  <a:cubicBezTo>
                    <a:pt x="108" y="230"/>
                    <a:pt x="117" y="227"/>
                    <a:pt x="120" y="224"/>
                  </a:cubicBezTo>
                  <a:cubicBezTo>
                    <a:pt x="123" y="222"/>
                    <a:pt x="121" y="217"/>
                    <a:pt x="134" y="214"/>
                  </a:cubicBezTo>
                  <a:cubicBezTo>
                    <a:pt x="147" y="210"/>
                    <a:pt x="155" y="210"/>
                    <a:pt x="163" y="211"/>
                  </a:cubicBezTo>
                  <a:cubicBezTo>
                    <a:pt x="171" y="211"/>
                    <a:pt x="185" y="204"/>
                    <a:pt x="188" y="204"/>
                  </a:cubicBezTo>
                  <a:cubicBezTo>
                    <a:pt x="191" y="204"/>
                    <a:pt x="199" y="201"/>
                    <a:pt x="201" y="195"/>
                  </a:cubicBezTo>
                  <a:cubicBezTo>
                    <a:pt x="203" y="188"/>
                    <a:pt x="203" y="179"/>
                    <a:pt x="195" y="180"/>
                  </a:cubicBezTo>
                  <a:cubicBezTo>
                    <a:pt x="187" y="181"/>
                    <a:pt x="185" y="184"/>
                    <a:pt x="176" y="188"/>
                  </a:cubicBezTo>
                  <a:cubicBezTo>
                    <a:pt x="168" y="192"/>
                    <a:pt x="162" y="193"/>
                    <a:pt x="158" y="190"/>
                  </a:cubicBezTo>
                  <a:cubicBezTo>
                    <a:pt x="153" y="187"/>
                    <a:pt x="146" y="179"/>
                    <a:pt x="141" y="183"/>
                  </a:cubicBezTo>
                  <a:cubicBezTo>
                    <a:pt x="135" y="187"/>
                    <a:pt x="132" y="188"/>
                    <a:pt x="124" y="188"/>
                  </a:cubicBezTo>
                  <a:cubicBezTo>
                    <a:pt x="116" y="188"/>
                    <a:pt x="107" y="191"/>
                    <a:pt x="102" y="195"/>
                  </a:cubicBezTo>
                  <a:cubicBezTo>
                    <a:pt x="98" y="199"/>
                    <a:pt x="96" y="202"/>
                    <a:pt x="93" y="200"/>
                  </a:cubicBezTo>
                  <a:cubicBezTo>
                    <a:pt x="90" y="198"/>
                    <a:pt x="89" y="202"/>
                    <a:pt x="88" y="207"/>
                  </a:cubicBezTo>
                  <a:cubicBezTo>
                    <a:pt x="87" y="213"/>
                    <a:pt x="84" y="212"/>
                    <a:pt x="79" y="214"/>
                  </a:cubicBezTo>
                  <a:cubicBezTo>
                    <a:pt x="74" y="217"/>
                    <a:pt x="73" y="221"/>
                    <a:pt x="67" y="223"/>
                  </a:cubicBezTo>
                  <a:cubicBezTo>
                    <a:pt x="62" y="225"/>
                    <a:pt x="55" y="224"/>
                    <a:pt x="53" y="227"/>
                  </a:cubicBezTo>
                  <a:cubicBezTo>
                    <a:pt x="52" y="231"/>
                    <a:pt x="56" y="234"/>
                    <a:pt x="53" y="236"/>
                  </a:cubicBezTo>
                  <a:cubicBezTo>
                    <a:pt x="49" y="238"/>
                    <a:pt x="56" y="241"/>
                    <a:pt x="48" y="242"/>
                  </a:cubicBezTo>
                  <a:cubicBezTo>
                    <a:pt x="40" y="242"/>
                    <a:pt x="37" y="243"/>
                    <a:pt x="36" y="244"/>
                  </a:cubicBezTo>
                  <a:cubicBezTo>
                    <a:pt x="35" y="246"/>
                    <a:pt x="32" y="246"/>
                    <a:pt x="30" y="247"/>
                  </a:cubicBezTo>
                  <a:cubicBezTo>
                    <a:pt x="28" y="249"/>
                    <a:pt x="27" y="254"/>
                    <a:pt x="27" y="254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6" name="Ямало-Ненецкий АО">
              <a:extLst>
                <a:ext uri="{FF2B5EF4-FFF2-40B4-BE49-F238E27FC236}">
                  <a16:creationId xmlns:a16="http://schemas.microsoft.com/office/drawing/2014/main" id="{2A1D2600-ED92-90B2-728D-87380E79CF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8269" y="2808244"/>
              <a:ext cx="1560540" cy="1737615"/>
            </a:xfrm>
            <a:custGeom>
              <a:avLst/>
              <a:gdLst>
                <a:gd name="T0" fmla="*/ 104 w 293"/>
                <a:gd name="T1" fmla="*/ 148 h 366"/>
                <a:gd name="T2" fmla="*/ 101 w 293"/>
                <a:gd name="T3" fmla="*/ 100 h 366"/>
                <a:gd name="T4" fmla="*/ 119 w 293"/>
                <a:gd name="T5" fmla="*/ 58 h 366"/>
                <a:gd name="T6" fmla="*/ 172 w 293"/>
                <a:gd name="T7" fmla="*/ 22 h 366"/>
                <a:gd name="T8" fmla="*/ 171 w 293"/>
                <a:gd name="T9" fmla="*/ 80 h 366"/>
                <a:gd name="T10" fmla="*/ 158 w 293"/>
                <a:gd name="T11" fmla="*/ 150 h 366"/>
                <a:gd name="T12" fmla="*/ 135 w 293"/>
                <a:gd name="T13" fmla="*/ 192 h 366"/>
                <a:gd name="T14" fmla="*/ 102 w 293"/>
                <a:gd name="T15" fmla="*/ 208 h 366"/>
                <a:gd name="T16" fmla="*/ 137 w 293"/>
                <a:gd name="T17" fmla="*/ 212 h 366"/>
                <a:gd name="T18" fmla="*/ 172 w 293"/>
                <a:gd name="T19" fmla="*/ 159 h 366"/>
                <a:gd name="T20" fmla="*/ 201 w 293"/>
                <a:gd name="T21" fmla="*/ 173 h 366"/>
                <a:gd name="T22" fmla="*/ 199 w 293"/>
                <a:gd name="T23" fmla="*/ 188 h 366"/>
                <a:gd name="T24" fmla="*/ 195 w 293"/>
                <a:gd name="T25" fmla="*/ 146 h 366"/>
                <a:gd name="T26" fmla="*/ 167 w 293"/>
                <a:gd name="T27" fmla="*/ 123 h 366"/>
                <a:gd name="T28" fmla="*/ 181 w 293"/>
                <a:gd name="T29" fmla="*/ 65 h 366"/>
                <a:gd name="T30" fmla="*/ 208 w 293"/>
                <a:gd name="T31" fmla="*/ 41 h 366"/>
                <a:gd name="T32" fmla="*/ 216 w 293"/>
                <a:gd name="T33" fmla="*/ 87 h 366"/>
                <a:gd name="T34" fmla="*/ 209 w 293"/>
                <a:gd name="T35" fmla="*/ 62 h 366"/>
                <a:gd name="T36" fmla="*/ 233 w 293"/>
                <a:gd name="T37" fmla="*/ 54 h 366"/>
                <a:gd name="T38" fmla="*/ 246 w 293"/>
                <a:gd name="T39" fmla="*/ 81 h 366"/>
                <a:gd name="T40" fmla="*/ 248 w 293"/>
                <a:gd name="T41" fmla="*/ 98 h 366"/>
                <a:gd name="T42" fmla="*/ 227 w 293"/>
                <a:gd name="T43" fmla="*/ 138 h 366"/>
                <a:gd name="T44" fmla="*/ 245 w 293"/>
                <a:gd name="T45" fmla="*/ 156 h 366"/>
                <a:gd name="T46" fmla="*/ 258 w 293"/>
                <a:gd name="T47" fmla="*/ 156 h 366"/>
                <a:gd name="T48" fmla="*/ 260 w 293"/>
                <a:gd name="T49" fmla="*/ 176 h 366"/>
                <a:gd name="T50" fmla="*/ 251 w 293"/>
                <a:gd name="T51" fmla="*/ 203 h 366"/>
                <a:gd name="T52" fmla="*/ 255 w 293"/>
                <a:gd name="T53" fmla="*/ 224 h 366"/>
                <a:gd name="T54" fmla="*/ 263 w 293"/>
                <a:gd name="T55" fmla="*/ 243 h 366"/>
                <a:gd name="T56" fmla="*/ 268 w 293"/>
                <a:gd name="T57" fmla="*/ 260 h 366"/>
                <a:gd name="T58" fmla="*/ 274 w 293"/>
                <a:gd name="T59" fmla="*/ 289 h 366"/>
                <a:gd name="T60" fmla="*/ 290 w 293"/>
                <a:gd name="T61" fmla="*/ 305 h 366"/>
                <a:gd name="T62" fmla="*/ 284 w 293"/>
                <a:gd name="T63" fmla="*/ 335 h 366"/>
                <a:gd name="T64" fmla="*/ 268 w 293"/>
                <a:gd name="T65" fmla="*/ 366 h 366"/>
                <a:gd name="T66" fmla="*/ 245 w 293"/>
                <a:gd name="T67" fmla="*/ 352 h 366"/>
                <a:gd name="T68" fmla="*/ 224 w 293"/>
                <a:gd name="T69" fmla="*/ 336 h 366"/>
                <a:gd name="T70" fmla="*/ 171 w 293"/>
                <a:gd name="T71" fmla="*/ 340 h 366"/>
                <a:gd name="T72" fmla="*/ 150 w 293"/>
                <a:gd name="T73" fmla="*/ 326 h 366"/>
                <a:gd name="T74" fmla="*/ 127 w 293"/>
                <a:gd name="T75" fmla="*/ 319 h 366"/>
                <a:gd name="T76" fmla="*/ 104 w 293"/>
                <a:gd name="T77" fmla="*/ 298 h 366"/>
                <a:gd name="T78" fmla="*/ 79 w 293"/>
                <a:gd name="T79" fmla="*/ 267 h 366"/>
                <a:gd name="T80" fmla="*/ 56 w 293"/>
                <a:gd name="T81" fmla="*/ 272 h 366"/>
                <a:gd name="T82" fmla="*/ 31 w 293"/>
                <a:gd name="T83" fmla="*/ 251 h 366"/>
                <a:gd name="T84" fmla="*/ 9 w 293"/>
                <a:gd name="T85" fmla="*/ 216 h 366"/>
                <a:gd name="T86" fmla="*/ 35 w 293"/>
                <a:gd name="T87" fmla="*/ 183 h 366"/>
                <a:gd name="T88" fmla="*/ 67 w 293"/>
                <a:gd name="T89" fmla="*/ 169 h 366"/>
                <a:gd name="T90" fmla="*/ 70 w 293"/>
                <a:gd name="T91" fmla="*/ 150 h 366"/>
                <a:gd name="T92" fmla="*/ 72 w 293"/>
                <a:gd name="T93" fmla="*/ 123 h 366"/>
                <a:gd name="T94" fmla="*/ 178 w 293"/>
                <a:gd name="T95" fmla="*/ 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" h="366">
                  <a:moveTo>
                    <a:pt x="80" y="112"/>
                  </a:moveTo>
                  <a:cubicBezTo>
                    <a:pt x="83" y="116"/>
                    <a:pt x="87" y="117"/>
                    <a:pt x="90" y="122"/>
                  </a:cubicBezTo>
                  <a:cubicBezTo>
                    <a:pt x="94" y="128"/>
                    <a:pt x="97" y="131"/>
                    <a:pt x="98" y="138"/>
                  </a:cubicBezTo>
                  <a:cubicBezTo>
                    <a:pt x="100" y="145"/>
                    <a:pt x="102" y="152"/>
                    <a:pt x="104" y="148"/>
                  </a:cubicBezTo>
                  <a:cubicBezTo>
                    <a:pt x="107" y="144"/>
                    <a:pt x="113" y="141"/>
                    <a:pt x="112" y="135"/>
                  </a:cubicBezTo>
                  <a:cubicBezTo>
                    <a:pt x="111" y="130"/>
                    <a:pt x="111" y="119"/>
                    <a:pt x="111" y="115"/>
                  </a:cubicBezTo>
                  <a:cubicBezTo>
                    <a:pt x="112" y="111"/>
                    <a:pt x="108" y="105"/>
                    <a:pt x="104" y="106"/>
                  </a:cubicBezTo>
                  <a:cubicBezTo>
                    <a:pt x="101" y="107"/>
                    <a:pt x="97" y="104"/>
                    <a:pt x="101" y="100"/>
                  </a:cubicBezTo>
                  <a:cubicBezTo>
                    <a:pt x="105" y="96"/>
                    <a:pt x="110" y="96"/>
                    <a:pt x="110" y="92"/>
                  </a:cubicBezTo>
                  <a:cubicBezTo>
                    <a:pt x="111" y="87"/>
                    <a:pt x="112" y="82"/>
                    <a:pt x="114" y="79"/>
                  </a:cubicBezTo>
                  <a:cubicBezTo>
                    <a:pt x="116" y="77"/>
                    <a:pt x="109" y="77"/>
                    <a:pt x="110" y="70"/>
                  </a:cubicBezTo>
                  <a:cubicBezTo>
                    <a:pt x="111" y="63"/>
                    <a:pt x="113" y="59"/>
                    <a:pt x="119" y="58"/>
                  </a:cubicBezTo>
                  <a:cubicBezTo>
                    <a:pt x="126" y="57"/>
                    <a:pt x="130" y="55"/>
                    <a:pt x="133" y="51"/>
                  </a:cubicBezTo>
                  <a:cubicBezTo>
                    <a:pt x="135" y="47"/>
                    <a:pt x="149" y="31"/>
                    <a:pt x="151" y="24"/>
                  </a:cubicBezTo>
                  <a:cubicBezTo>
                    <a:pt x="153" y="18"/>
                    <a:pt x="155" y="13"/>
                    <a:pt x="158" y="17"/>
                  </a:cubicBezTo>
                  <a:cubicBezTo>
                    <a:pt x="162" y="21"/>
                    <a:pt x="167" y="22"/>
                    <a:pt x="172" y="22"/>
                  </a:cubicBezTo>
                  <a:cubicBezTo>
                    <a:pt x="177" y="22"/>
                    <a:pt x="183" y="29"/>
                    <a:pt x="184" y="33"/>
                  </a:cubicBezTo>
                  <a:cubicBezTo>
                    <a:pt x="184" y="38"/>
                    <a:pt x="182" y="45"/>
                    <a:pt x="179" y="50"/>
                  </a:cubicBezTo>
                  <a:cubicBezTo>
                    <a:pt x="176" y="55"/>
                    <a:pt x="165" y="64"/>
                    <a:pt x="166" y="68"/>
                  </a:cubicBezTo>
                  <a:cubicBezTo>
                    <a:pt x="166" y="73"/>
                    <a:pt x="171" y="75"/>
                    <a:pt x="171" y="80"/>
                  </a:cubicBezTo>
                  <a:cubicBezTo>
                    <a:pt x="171" y="85"/>
                    <a:pt x="167" y="99"/>
                    <a:pt x="164" y="103"/>
                  </a:cubicBezTo>
                  <a:cubicBezTo>
                    <a:pt x="160" y="107"/>
                    <a:pt x="161" y="114"/>
                    <a:pt x="160" y="120"/>
                  </a:cubicBezTo>
                  <a:cubicBezTo>
                    <a:pt x="159" y="125"/>
                    <a:pt x="153" y="134"/>
                    <a:pt x="153" y="135"/>
                  </a:cubicBezTo>
                  <a:cubicBezTo>
                    <a:pt x="153" y="137"/>
                    <a:pt x="156" y="147"/>
                    <a:pt x="158" y="150"/>
                  </a:cubicBezTo>
                  <a:cubicBezTo>
                    <a:pt x="159" y="152"/>
                    <a:pt x="161" y="161"/>
                    <a:pt x="158" y="162"/>
                  </a:cubicBezTo>
                  <a:cubicBezTo>
                    <a:pt x="154" y="164"/>
                    <a:pt x="154" y="168"/>
                    <a:pt x="153" y="174"/>
                  </a:cubicBezTo>
                  <a:cubicBezTo>
                    <a:pt x="153" y="181"/>
                    <a:pt x="146" y="182"/>
                    <a:pt x="144" y="184"/>
                  </a:cubicBezTo>
                  <a:cubicBezTo>
                    <a:pt x="141" y="186"/>
                    <a:pt x="139" y="187"/>
                    <a:pt x="135" y="192"/>
                  </a:cubicBezTo>
                  <a:cubicBezTo>
                    <a:pt x="130" y="197"/>
                    <a:pt x="121" y="201"/>
                    <a:pt x="117" y="201"/>
                  </a:cubicBezTo>
                  <a:cubicBezTo>
                    <a:pt x="112" y="201"/>
                    <a:pt x="111" y="202"/>
                    <a:pt x="106" y="198"/>
                  </a:cubicBezTo>
                  <a:cubicBezTo>
                    <a:pt x="101" y="195"/>
                    <a:pt x="99" y="193"/>
                    <a:pt x="96" y="199"/>
                  </a:cubicBezTo>
                  <a:cubicBezTo>
                    <a:pt x="94" y="205"/>
                    <a:pt x="99" y="205"/>
                    <a:pt x="102" y="208"/>
                  </a:cubicBezTo>
                  <a:cubicBezTo>
                    <a:pt x="104" y="212"/>
                    <a:pt x="109" y="212"/>
                    <a:pt x="110" y="214"/>
                  </a:cubicBezTo>
                  <a:cubicBezTo>
                    <a:pt x="111" y="217"/>
                    <a:pt x="117" y="213"/>
                    <a:pt x="119" y="216"/>
                  </a:cubicBezTo>
                  <a:cubicBezTo>
                    <a:pt x="121" y="220"/>
                    <a:pt x="125" y="223"/>
                    <a:pt x="129" y="219"/>
                  </a:cubicBezTo>
                  <a:cubicBezTo>
                    <a:pt x="133" y="216"/>
                    <a:pt x="133" y="212"/>
                    <a:pt x="137" y="212"/>
                  </a:cubicBezTo>
                  <a:cubicBezTo>
                    <a:pt x="141" y="212"/>
                    <a:pt x="155" y="206"/>
                    <a:pt x="156" y="201"/>
                  </a:cubicBezTo>
                  <a:cubicBezTo>
                    <a:pt x="156" y="196"/>
                    <a:pt x="160" y="193"/>
                    <a:pt x="164" y="190"/>
                  </a:cubicBezTo>
                  <a:cubicBezTo>
                    <a:pt x="168" y="187"/>
                    <a:pt x="168" y="183"/>
                    <a:pt x="170" y="178"/>
                  </a:cubicBezTo>
                  <a:cubicBezTo>
                    <a:pt x="172" y="173"/>
                    <a:pt x="172" y="163"/>
                    <a:pt x="172" y="159"/>
                  </a:cubicBezTo>
                  <a:cubicBezTo>
                    <a:pt x="173" y="155"/>
                    <a:pt x="180" y="153"/>
                    <a:pt x="183" y="153"/>
                  </a:cubicBezTo>
                  <a:cubicBezTo>
                    <a:pt x="185" y="153"/>
                    <a:pt x="194" y="150"/>
                    <a:pt x="195" y="154"/>
                  </a:cubicBezTo>
                  <a:cubicBezTo>
                    <a:pt x="197" y="158"/>
                    <a:pt x="198" y="161"/>
                    <a:pt x="199" y="164"/>
                  </a:cubicBezTo>
                  <a:cubicBezTo>
                    <a:pt x="201" y="166"/>
                    <a:pt x="203" y="169"/>
                    <a:pt x="201" y="173"/>
                  </a:cubicBezTo>
                  <a:cubicBezTo>
                    <a:pt x="200" y="176"/>
                    <a:pt x="196" y="182"/>
                    <a:pt x="196" y="187"/>
                  </a:cubicBezTo>
                  <a:cubicBezTo>
                    <a:pt x="196" y="193"/>
                    <a:pt x="196" y="197"/>
                    <a:pt x="204" y="198"/>
                  </a:cubicBezTo>
                  <a:cubicBezTo>
                    <a:pt x="212" y="200"/>
                    <a:pt x="216" y="198"/>
                    <a:pt x="214" y="195"/>
                  </a:cubicBezTo>
                  <a:cubicBezTo>
                    <a:pt x="211" y="193"/>
                    <a:pt x="198" y="194"/>
                    <a:pt x="199" y="188"/>
                  </a:cubicBezTo>
                  <a:cubicBezTo>
                    <a:pt x="201" y="181"/>
                    <a:pt x="202" y="180"/>
                    <a:pt x="206" y="179"/>
                  </a:cubicBezTo>
                  <a:cubicBezTo>
                    <a:pt x="211" y="178"/>
                    <a:pt x="210" y="174"/>
                    <a:pt x="209" y="170"/>
                  </a:cubicBezTo>
                  <a:cubicBezTo>
                    <a:pt x="209" y="166"/>
                    <a:pt x="208" y="159"/>
                    <a:pt x="209" y="157"/>
                  </a:cubicBezTo>
                  <a:cubicBezTo>
                    <a:pt x="210" y="154"/>
                    <a:pt x="199" y="150"/>
                    <a:pt x="195" y="146"/>
                  </a:cubicBezTo>
                  <a:cubicBezTo>
                    <a:pt x="191" y="141"/>
                    <a:pt x="185" y="142"/>
                    <a:pt x="183" y="144"/>
                  </a:cubicBezTo>
                  <a:cubicBezTo>
                    <a:pt x="180" y="147"/>
                    <a:pt x="180" y="141"/>
                    <a:pt x="172" y="142"/>
                  </a:cubicBezTo>
                  <a:cubicBezTo>
                    <a:pt x="165" y="143"/>
                    <a:pt x="169" y="139"/>
                    <a:pt x="171" y="135"/>
                  </a:cubicBezTo>
                  <a:cubicBezTo>
                    <a:pt x="173" y="131"/>
                    <a:pt x="166" y="126"/>
                    <a:pt x="167" y="123"/>
                  </a:cubicBezTo>
                  <a:cubicBezTo>
                    <a:pt x="168" y="120"/>
                    <a:pt x="174" y="111"/>
                    <a:pt x="177" y="107"/>
                  </a:cubicBezTo>
                  <a:cubicBezTo>
                    <a:pt x="180" y="103"/>
                    <a:pt x="182" y="95"/>
                    <a:pt x="181" y="90"/>
                  </a:cubicBezTo>
                  <a:cubicBezTo>
                    <a:pt x="180" y="84"/>
                    <a:pt x="180" y="76"/>
                    <a:pt x="178" y="73"/>
                  </a:cubicBezTo>
                  <a:cubicBezTo>
                    <a:pt x="176" y="71"/>
                    <a:pt x="179" y="68"/>
                    <a:pt x="181" y="65"/>
                  </a:cubicBezTo>
                  <a:cubicBezTo>
                    <a:pt x="184" y="63"/>
                    <a:pt x="191" y="58"/>
                    <a:pt x="195" y="56"/>
                  </a:cubicBezTo>
                  <a:cubicBezTo>
                    <a:pt x="199" y="53"/>
                    <a:pt x="202" y="52"/>
                    <a:pt x="202" y="48"/>
                  </a:cubicBezTo>
                  <a:cubicBezTo>
                    <a:pt x="202" y="44"/>
                    <a:pt x="200" y="35"/>
                    <a:pt x="203" y="33"/>
                  </a:cubicBezTo>
                  <a:cubicBezTo>
                    <a:pt x="206" y="31"/>
                    <a:pt x="208" y="34"/>
                    <a:pt x="208" y="41"/>
                  </a:cubicBezTo>
                  <a:cubicBezTo>
                    <a:pt x="207" y="48"/>
                    <a:pt x="207" y="54"/>
                    <a:pt x="204" y="58"/>
                  </a:cubicBezTo>
                  <a:cubicBezTo>
                    <a:pt x="200" y="62"/>
                    <a:pt x="201" y="69"/>
                    <a:pt x="200" y="73"/>
                  </a:cubicBezTo>
                  <a:cubicBezTo>
                    <a:pt x="198" y="77"/>
                    <a:pt x="200" y="79"/>
                    <a:pt x="203" y="82"/>
                  </a:cubicBezTo>
                  <a:cubicBezTo>
                    <a:pt x="205" y="84"/>
                    <a:pt x="211" y="86"/>
                    <a:pt x="216" y="87"/>
                  </a:cubicBezTo>
                  <a:cubicBezTo>
                    <a:pt x="220" y="89"/>
                    <a:pt x="220" y="91"/>
                    <a:pt x="222" y="95"/>
                  </a:cubicBezTo>
                  <a:cubicBezTo>
                    <a:pt x="225" y="98"/>
                    <a:pt x="231" y="94"/>
                    <a:pt x="225" y="89"/>
                  </a:cubicBezTo>
                  <a:cubicBezTo>
                    <a:pt x="220" y="83"/>
                    <a:pt x="215" y="82"/>
                    <a:pt x="211" y="78"/>
                  </a:cubicBezTo>
                  <a:cubicBezTo>
                    <a:pt x="207" y="73"/>
                    <a:pt x="206" y="65"/>
                    <a:pt x="209" y="62"/>
                  </a:cubicBezTo>
                  <a:cubicBezTo>
                    <a:pt x="213" y="58"/>
                    <a:pt x="219" y="61"/>
                    <a:pt x="220" y="66"/>
                  </a:cubicBezTo>
                  <a:cubicBezTo>
                    <a:pt x="220" y="71"/>
                    <a:pt x="230" y="72"/>
                    <a:pt x="228" y="66"/>
                  </a:cubicBezTo>
                  <a:cubicBezTo>
                    <a:pt x="226" y="61"/>
                    <a:pt x="219" y="58"/>
                    <a:pt x="226" y="56"/>
                  </a:cubicBezTo>
                  <a:cubicBezTo>
                    <a:pt x="228" y="55"/>
                    <a:pt x="231" y="54"/>
                    <a:pt x="233" y="54"/>
                  </a:cubicBezTo>
                  <a:cubicBezTo>
                    <a:pt x="232" y="62"/>
                    <a:pt x="232" y="62"/>
                    <a:pt x="232" y="62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2" y="80"/>
                    <a:pt x="242" y="80"/>
                    <a:pt x="242" y="80"/>
                  </a:cubicBezTo>
                  <a:cubicBezTo>
                    <a:pt x="236" y="88"/>
                    <a:pt x="236" y="88"/>
                    <a:pt x="236" y="88"/>
                  </a:cubicBezTo>
                  <a:cubicBezTo>
                    <a:pt x="240" y="93"/>
                    <a:pt x="240" y="93"/>
                    <a:pt x="240" y="93"/>
                  </a:cubicBezTo>
                  <a:cubicBezTo>
                    <a:pt x="248" y="98"/>
                    <a:pt x="248" y="98"/>
                    <a:pt x="248" y="98"/>
                  </a:cubicBezTo>
                  <a:cubicBezTo>
                    <a:pt x="248" y="117"/>
                    <a:pt x="248" y="117"/>
                    <a:pt x="248" y="117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8"/>
                    <a:pt x="227" y="138"/>
                    <a:pt x="227" y="138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5" y="156"/>
                    <a:pt x="245" y="156"/>
                    <a:pt x="245" y="156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5"/>
                    <a:pt x="258" y="156"/>
                  </a:cubicBezTo>
                  <a:cubicBezTo>
                    <a:pt x="258" y="157"/>
                    <a:pt x="260" y="157"/>
                    <a:pt x="260" y="157"/>
                  </a:cubicBezTo>
                  <a:cubicBezTo>
                    <a:pt x="261" y="162"/>
                    <a:pt x="261" y="162"/>
                    <a:pt x="261" y="162"/>
                  </a:cubicBezTo>
                  <a:cubicBezTo>
                    <a:pt x="264" y="172"/>
                    <a:pt x="264" y="172"/>
                    <a:pt x="264" y="172"/>
                  </a:cubicBezTo>
                  <a:cubicBezTo>
                    <a:pt x="260" y="176"/>
                    <a:pt x="260" y="176"/>
                    <a:pt x="260" y="176"/>
                  </a:cubicBezTo>
                  <a:cubicBezTo>
                    <a:pt x="262" y="185"/>
                    <a:pt x="262" y="185"/>
                    <a:pt x="262" y="18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1" y="195"/>
                    <a:pt x="251" y="195"/>
                    <a:pt x="251" y="195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7" y="208"/>
                    <a:pt x="257" y="208"/>
                    <a:pt x="257" y="208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4" y="218"/>
                    <a:pt x="254" y="218"/>
                    <a:pt x="254" y="218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1" y="227"/>
                    <a:pt x="261" y="227"/>
                    <a:pt x="261" y="227"/>
                  </a:cubicBezTo>
                  <a:cubicBezTo>
                    <a:pt x="265" y="232"/>
                    <a:pt x="265" y="232"/>
                    <a:pt x="265" y="232"/>
                  </a:cubicBezTo>
                  <a:cubicBezTo>
                    <a:pt x="260" y="239"/>
                    <a:pt x="260" y="239"/>
                    <a:pt x="260" y="239"/>
                  </a:cubicBezTo>
                  <a:cubicBezTo>
                    <a:pt x="263" y="243"/>
                    <a:pt x="263" y="243"/>
                    <a:pt x="263" y="243"/>
                  </a:cubicBezTo>
                  <a:cubicBezTo>
                    <a:pt x="264" y="251"/>
                    <a:pt x="264" y="251"/>
                    <a:pt x="264" y="251"/>
                  </a:cubicBezTo>
                  <a:cubicBezTo>
                    <a:pt x="259" y="253"/>
                    <a:pt x="259" y="253"/>
                    <a:pt x="259" y="253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8" y="260"/>
                    <a:pt x="268" y="260"/>
                    <a:pt x="268" y="260"/>
                  </a:cubicBezTo>
                  <a:cubicBezTo>
                    <a:pt x="274" y="266"/>
                    <a:pt x="274" y="266"/>
                    <a:pt x="274" y="266"/>
                  </a:cubicBezTo>
                  <a:cubicBezTo>
                    <a:pt x="277" y="277"/>
                    <a:pt x="277" y="277"/>
                    <a:pt x="277" y="277"/>
                  </a:cubicBezTo>
                  <a:cubicBezTo>
                    <a:pt x="271" y="283"/>
                    <a:pt x="271" y="283"/>
                    <a:pt x="271" y="283"/>
                  </a:cubicBezTo>
                  <a:cubicBezTo>
                    <a:pt x="274" y="289"/>
                    <a:pt x="274" y="289"/>
                    <a:pt x="274" y="289"/>
                  </a:cubicBezTo>
                  <a:cubicBezTo>
                    <a:pt x="280" y="289"/>
                    <a:pt x="280" y="289"/>
                    <a:pt x="280" y="289"/>
                  </a:cubicBezTo>
                  <a:cubicBezTo>
                    <a:pt x="286" y="294"/>
                    <a:pt x="286" y="294"/>
                    <a:pt x="286" y="294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4" y="319"/>
                    <a:pt x="284" y="319"/>
                    <a:pt x="284" y="319"/>
                  </a:cubicBezTo>
                  <a:cubicBezTo>
                    <a:pt x="278" y="328"/>
                    <a:pt x="278" y="328"/>
                    <a:pt x="278" y="328"/>
                  </a:cubicBezTo>
                  <a:cubicBezTo>
                    <a:pt x="284" y="335"/>
                    <a:pt x="284" y="335"/>
                    <a:pt x="284" y="335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79" y="348"/>
                    <a:pt x="279" y="348"/>
                    <a:pt x="279" y="348"/>
                  </a:cubicBezTo>
                  <a:cubicBezTo>
                    <a:pt x="278" y="356"/>
                    <a:pt x="278" y="356"/>
                    <a:pt x="278" y="356"/>
                  </a:cubicBezTo>
                  <a:cubicBezTo>
                    <a:pt x="268" y="366"/>
                    <a:pt x="268" y="366"/>
                    <a:pt x="268" y="366"/>
                  </a:cubicBezTo>
                  <a:cubicBezTo>
                    <a:pt x="264" y="361"/>
                    <a:pt x="264" y="361"/>
                    <a:pt x="264" y="361"/>
                  </a:cubicBezTo>
                  <a:cubicBezTo>
                    <a:pt x="257" y="358"/>
                    <a:pt x="257" y="358"/>
                    <a:pt x="257" y="358"/>
                  </a:cubicBezTo>
                  <a:cubicBezTo>
                    <a:pt x="251" y="361"/>
                    <a:pt x="251" y="361"/>
                    <a:pt x="251" y="361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38" y="348"/>
                    <a:pt x="238" y="348"/>
                    <a:pt x="238" y="348"/>
                  </a:cubicBezTo>
                  <a:cubicBezTo>
                    <a:pt x="233" y="352"/>
                    <a:pt x="233" y="352"/>
                    <a:pt x="233" y="352"/>
                  </a:cubicBezTo>
                  <a:cubicBezTo>
                    <a:pt x="226" y="343"/>
                    <a:pt x="226" y="343"/>
                    <a:pt x="226" y="343"/>
                  </a:cubicBezTo>
                  <a:cubicBezTo>
                    <a:pt x="224" y="336"/>
                    <a:pt x="224" y="336"/>
                    <a:pt x="224" y="336"/>
                  </a:cubicBezTo>
                  <a:cubicBezTo>
                    <a:pt x="212" y="343"/>
                    <a:pt x="212" y="343"/>
                    <a:pt x="212" y="343"/>
                  </a:cubicBezTo>
                  <a:cubicBezTo>
                    <a:pt x="209" y="348"/>
                    <a:pt x="209" y="348"/>
                    <a:pt x="209" y="348"/>
                  </a:cubicBezTo>
                  <a:cubicBezTo>
                    <a:pt x="183" y="349"/>
                    <a:pt x="183" y="349"/>
                    <a:pt x="183" y="349"/>
                  </a:cubicBezTo>
                  <a:cubicBezTo>
                    <a:pt x="171" y="340"/>
                    <a:pt x="171" y="340"/>
                    <a:pt x="171" y="340"/>
                  </a:cubicBezTo>
                  <a:cubicBezTo>
                    <a:pt x="172" y="334"/>
                    <a:pt x="172" y="334"/>
                    <a:pt x="172" y="334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0" y="326"/>
                    <a:pt x="150" y="326"/>
                    <a:pt x="150" y="326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127" y="319"/>
                    <a:pt x="127" y="319"/>
                    <a:pt x="127" y="31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06" y="313"/>
                    <a:pt x="106" y="313"/>
                    <a:pt x="106" y="313"/>
                  </a:cubicBezTo>
                  <a:cubicBezTo>
                    <a:pt x="102" y="303"/>
                    <a:pt x="102" y="303"/>
                    <a:pt x="102" y="303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5" y="277"/>
                    <a:pt x="95" y="277"/>
                    <a:pt x="95" y="277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68" y="266"/>
                    <a:pt x="68" y="266"/>
                    <a:pt x="68" y="266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0" y="263"/>
                    <a:pt x="50" y="263"/>
                    <a:pt x="50" y="263"/>
                  </a:cubicBezTo>
                  <a:cubicBezTo>
                    <a:pt x="54" y="256"/>
                    <a:pt x="54" y="256"/>
                    <a:pt x="54" y="256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31" y="251"/>
                    <a:pt x="31" y="251"/>
                    <a:pt x="31" y="251"/>
                  </a:cubicBezTo>
                  <a:cubicBezTo>
                    <a:pt x="25" y="247"/>
                    <a:pt x="25" y="247"/>
                    <a:pt x="25" y="247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10" y="198"/>
                    <a:pt x="10" y="198"/>
                    <a:pt x="1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9" y="191"/>
                    <a:pt x="19" y="191"/>
                    <a:pt x="19" y="191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53" y="183"/>
                    <a:pt x="53" y="183"/>
                    <a:pt x="53" y="183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7" y="169"/>
                    <a:pt x="67" y="169"/>
                    <a:pt x="67" y="169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2" y="123"/>
                    <a:pt x="72" y="123"/>
                    <a:pt x="72" y="123"/>
                  </a:cubicBezTo>
                  <a:cubicBezTo>
                    <a:pt x="80" y="112"/>
                    <a:pt x="80" y="112"/>
                    <a:pt x="80" y="112"/>
                  </a:cubicBezTo>
                  <a:close/>
                  <a:moveTo>
                    <a:pt x="163" y="12"/>
                  </a:moveTo>
                  <a:cubicBezTo>
                    <a:pt x="163" y="12"/>
                    <a:pt x="164" y="15"/>
                    <a:pt x="169" y="17"/>
                  </a:cubicBezTo>
                  <a:cubicBezTo>
                    <a:pt x="173" y="20"/>
                    <a:pt x="178" y="16"/>
                    <a:pt x="178" y="12"/>
                  </a:cubicBezTo>
                  <a:cubicBezTo>
                    <a:pt x="177" y="8"/>
                    <a:pt x="175" y="10"/>
                    <a:pt x="176" y="7"/>
                  </a:cubicBezTo>
                  <a:cubicBezTo>
                    <a:pt x="177" y="3"/>
                    <a:pt x="169" y="0"/>
                    <a:pt x="167" y="2"/>
                  </a:cubicBezTo>
                  <a:cubicBezTo>
                    <a:pt x="165" y="4"/>
                    <a:pt x="163" y="11"/>
                    <a:pt x="163" y="1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7" name="Чукотский АО">
              <a:extLst>
                <a:ext uri="{FF2B5EF4-FFF2-40B4-BE49-F238E27FC236}">
                  <a16:creationId xmlns:a16="http://schemas.microsoft.com/office/drawing/2014/main" id="{51E43F29-F9B1-4DDB-FBA7-43F931191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354" y="526342"/>
              <a:ext cx="1527338" cy="1721674"/>
            </a:xfrm>
            <a:custGeom>
              <a:avLst/>
              <a:gdLst>
                <a:gd name="T0" fmla="*/ 7 w 287"/>
                <a:gd name="T1" fmla="*/ 247 h 363"/>
                <a:gd name="T2" fmla="*/ 23 w 287"/>
                <a:gd name="T3" fmla="*/ 214 h 363"/>
                <a:gd name="T4" fmla="*/ 38 w 287"/>
                <a:gd name="T5" fmla="*/ 203 h 363"/>
                <a:gd name="T6" fmla="*/ 42 w 287"/>
                <a:gd name="T7" fmla="*/ 213 h 363"/>
                <a:gd name="T8" fmla="*/ 54 w 287"/>
                <a:gd name="T9" fmla="*/ 191 h 363"/>
                <a:gd name="T10" fmla="*/ 27 w 287"/>
                <a:gd name="T11" fmla="*/ 181 h 363"/>
                <a:gd name="T12" fmla="*/ 47 w 287"/>
                <a:gd name="T13" fmla="*/ 153 h 363"/>
                <a:gd name="T14" fmla="*/ 76 w 287"/>
                <a:gd name="T15" fmla="*/ 114 h 363"/>
                <a:gd name="T16" fmla="*/ 117 w 287"/>
                <a:gd name="T17" fmla="*/ 85 h 363"/>
                <a:gd name="T18" fmla="*/ 155 w 287"/>
                <a:gd name="T19" fmla="*/ 58 h 363"/>
                <a:gd name="T20" fmla="*/ 179 w 287"/>
                <a:gd name="T21" fmla="*/ 61 h 363"/>
                <a:gd name="T22" fmla="*/ 168 w 287"/>
                <a:gd name="T23" fmla="*/ 53 h 363"/>
                <a:gd name="T24" fmla="*/ 172 w 287"/>
                <a:gd name="T25" fmla="*/ 34 h 363"/>
                <a:gd name="T26" fmla="*/ 205 w 287"/>
                <a:gd name="T27" fmla="*/ 2 h 363"/>
                <a:gd name="T28" fmla="*/ 218 w 287"/>
                <a:gd name="T29" fmla="*/ 18 h 363"/>
                <a:gd name="T30" fmla="*/ 224 w 287"/>
                <a:gd name="T31" fmla="*/ 39 h 363"/>
                <a:gd name="T32" fmla="*/ 247 w 287"/>
                <a:gd name="T33" fmla="*/ 45 h 363"/>
                <a:gd name="T34" fmla="*/ 246 w 287"/>
                <a:gd name="T35" fmla="*/ 64 h 363"/>
                <a:gd name="T36" fmla="*/ 226 w 287"/>
                <a:gd name="T37" fmla="*/ 84 h 363"/>
                <a:gd name="T38" fmla="*/ 204 w 287"/>
                <a:gd name="T39" fmla="*/ 107 h 363"/>
                <a:gd name="T40" fmla="*/ 184 w 287"/>
                <a:gd name="T41" fmla="*/ 113 h 363"/>
                <a:gd name="T42" fmla="*/ 187 w 287"/>
                <a:gd name="T43" fmla="*/ 124 h 363"/>
                <a:gd name="T44" fmla="*/ 209 w 287"/>
                <a:gd name="T45" fmla="*/ 135 h 363"/>
                <a:gd name="T46" fmla="*/ 212 w 287"/>
                <a:gd name="T47" fmla="*/ 161 h 363"/>
                <a:gd name="T48" fmla="*/ 202 w 287"/>
                <a:gd name="T49" fmla="*/ 179 h 363"/>
                <a:gd name="T50" fmla="*/ 220 w 287"/>
                <a:gd name="T51" fmla="*/ 168 h 363"/>
                <a:gd name="T52" fmla="*/ 246 w 287"/>
                <a:gd name="T53" fmla="*/ 163 h 363"/>
                <a:gd name="T54" fmla="*/ 272 w 287"/>
                <a:gd name="T55" fmla="*/ 159 h 363"/>
                <a:gd name="T56" fmla="*/ 264 w 287"/>
                <a:gd name="T57" fmla="*/ 191 h 363"/>
                <a:gd name="T58" fmla="*/ 275 w 287"/>
                <a:gd name="T59" fmla="*/ 228 h 363"/>
                <a:gd name="T60" fmla="*/ 264 w 287"/>
                <a:gd name="T61" fmla="*/ 239 h 363"/>
                <a:gd name="T62" fmla="*/ 251 w 287"/>
                <a:gd name="T63" fmla="*/ 254 h 363"/>
                <a:gd name="T64" fmla="*/ 241 w 287"/>
                <a:gd name="T65" fmla="*/ 284 h 363"/>
                <a:gd name="T66" fmla="*/ 224 w 287"/>
                <a:gd name="T67" fmla="*/ 289 h 363"/>
                <a:gd name="T68" fmla="*/ 207 w 287"/>
                <a:gd name="T69" fmla="*/ 289 h 363"/>
                <a:gd name="T70" fmla="*/ 178 w 287"/>
                <a:gd name="T71" fmla="*/ 280 h 363"/>
                <a:gd name="T72" fmla="*/ 161 w 287"/>
                <a:gd name="T73" fmla="*/ 298 h 363"/>
                <a:gd name="T74" fmla="*/ 144 w 287"/>
                <a:gd name="T75" fmla="*/ 312 h 363"/>
                <a:gd name="T76" fmla="*/ 136 w 287"/>
                <a:gd name="T77" fmla="*/ 326 h 363"/>
                <a:gd name="T78" fmla="*/ 124 w 287"/>
                <a:gd name="T79" fmla="*/ 349 h 363"/>
                <a:gd name="T80" fmla="*/ 91 w 287"/>
                <a:gd name="T81" fmla="*/ 357 h 363"/>
                <a:gd name="T82" fmla="*/ 70 w 287"/>
                <a:gd name="T83" fmla="*/ 352 h 363"/>
                <a:gd name="T84" fmla="*/ 59 w 287"/>
                <a:gd name="T85" fmla="*/ 354 h 363"/>
                <a:gd name="T86" fmla="*/ 26 w 287"/>
                <a:gd name="T87" fmla="*/ 346 h 363"/>
                <a:gd name="T88" fmla="*/ 20 w 287"/>
                <a:gd name="T89" fmla="*/ 322 h 363"/>
                <a:gd name="T90" fmla="*/ 26 w 287"/>
                <a:gd name="T91" fmla="*/ 301 h 363"/>
                <a:gd name="T92" fmla="*/ 25 w 287"/>
                <a:gd name="T93" fmla="*/ 278 h 363"/>
                <a:gd name="T94" fmla="*/ 30 w 287"/>
                <a:gd name="T95" fmla="*/ 60 h 363"/>
                <a:gd name="T96" fmla="*/ 30 w 287"/>
                <a:gd name="T97" fmla="*/ 95 h 363"/>
                <a:gd name="T98" fmla="*/ 40 w 287"/>
                <a:gd name="T99" fmla="*/ 6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3">
                  <a:moveTo>
                    <a:pt x="0" y="264"/>
                  </a:moveTo>
                  <a:cubicBezTo>
                    <a:pt x="0" y="263"/>
                    <a:pt x="1" y="263"/>
                    <a:pt x="1" y="262"/>
                  </a:cubicBezTo>
                  <a:cubicBezTo>
                    <a:pt x="4" y="255"/>
                    <a:pt x="5" y="250"/>
                    <a:pt x="7" y="247"/>
                  </a:cubicBezTo>
                  <a:cubicBezTo>
                    <a:pt x="9" y="245"/>
                    <a:pt x="14" y="244"/>
                    <a:pt x="17" y="240"/>
                  </a:cubicBezTo>
                  <a:cubicBezTo>
                    <a:pt x="21" y="235"/>
                    <a:pt x="26" y="231"/>
                    <a:pt x="26" y="227"/>
                  </a:cubicBezTo>
                  <a:cubicBezTo>
                    <a:pt x="27" y="223"/>
                    <a:pt x="25" y="216"/>
                    <a:pt x="23" y="214"/>
                  </a:cubicBezTo>
                  <a:cubicBezTo>
                    <a:pt x="20" y="212"/>
                    <a:pt x="20" y="207"/>
                    <a:pt x="20" y="206"/>
                  </a:cubicBezTo>
                  <a:cubicBezTo>
                    <a:pt x="21" y="204"/>
                    <a:pt x="28" y="197"/>
                    <a:pt x="30" y="197"/>
                  </a:cubicBezTo>
                  <a:cubicBezTo>
                    <a:pt x="31" y="196"/>
                    <a:pt x="38" y="202"/>
                    <a:pt x="38" y="203"/>
                  </a:cubicBezTo>
                  <a:cubicBezTo>
                    <a:pt x="37" y="205"/>
                    <a:pt x="32" y="208"/>
                    <a:pt x="31" y="211"/>
                  </a:cubicBezTo>
                  <a:cubicBezTo>
                    <a:pt x="29" y="213"/>
                    <a:pt x="34" y="213"/>
                    <a:pt x="36" y="214"/>
                  </a:cubicBezTo>
                  <a:cubicBezTo>
                    <a:pt x="38" y="215"/>
                    <a:pt x="39" y="215"/>
                    <a:pt x="42" y="213"/>
                  </a:cubicBezTo>
                  <a:cubicBezTo>
                    <a:pt x="46" y="210"/>
                    <a:pt x="48" y="206"/>
                    <a:pt x="51" y="207"/>
                  </a:cubicBezTo>
                  <a:cubicBezTo>
                    <a:pt x="54" y="208"/>
                    <a:pt x="59" y="207"/>
                    <a:pt x="61" y="203"/>
                  </a:cubicBezTo>
                  <a:cubicBezTo>
                    <a:pt x="62" y="200"/>
                    <a:pt x="61" y="192"/>
                    <a:pt x="54" y="191"/>
                  </a:cubicBezTo>
                  <a:cubicBezTo>
                    <a:pt x="47" y="189"/>
                    <a:pt x="42" y="191"/>
                    <a:pt x="40" y="192"/>
                  </a:cubicBezTo>
                  <a:cubicBezTo>
                    <a:pt x="39" y="193"/>
                    <a:pt x="37" y="191"/>
                    <a:pt x="35" y="188"/>
                  </a:cubicBezTo>
                  <a:cubicBezTo>
                    <a:pt x="32" y="185"/>
                    <a:pt x="27" y="182"/>
                    <a:pt x="27" y="181"/>
                  </a:cubicBezTo>
                  <a:cubicBezTo>
                    <a:pt x="27" y="180"/>
                    <a:pt x="29" y="177"/>
                    <a:pt x="33" y="174"/>
                  </a:cubicBezTo>
                  <a:cubicBezTo>
                    <a:pt x="37" y="170"/>
                    <a:pt x="42" y="162"/>
                    <a:pt x="44" y="161"/>
                  </a:cubicBezTo>
                  <a:cubicBezTo>
                    <a:pt x="47" y="161"/>
                    <a:pt x="46" y="156"/>
                    <a:pt x="47" y="153"/>
                  </a:cubicBezTo>
                  <a:cubicBezTo>
                    <a:pt x="49" y="151"/>
                    <a:pt x="54" y="143"/>
                    <a:pt x="54" y="139"/>
                  </a:cubicBezTo>
                  <a:cubicBezTo>
                    <a:pt x="53" y="135"/>
                    <a:pt x="53" y="134"/>
                    <a:pt x="60" y="130"/>
                  </a:cubicBezTo>
                  <a:cubicBezTo>
                    <a:pt x="66" y="125"/>
                    <a:pt x="75" y="118"/>
                    <a:pt x="76" y="114"/>
                  </a:cubicBezTo>
                  <a:cubicBezTo>
                    <a:pt x="77" y="111"/>
                    <a:pt x="84" y="105"/>
                    <a:pt x="89" y="101"/>
                  </a:cubicBezTo>
                  <a:cubicBezTo>
                    <a:pt x="95" y="98"/>
                    <a:pt x="98" y="99"/>
                    <a:pt x="102" y="94"/>
                  </a:cubicBezTo>
                  <a:cubicBezTo>
                    <a:pt x="106" y="89"/>
                    <a:pt x="115" y="87"/>
                    <a:pt x="117" y="85"/>
                  </a:cubicBezTo>
                  <a:cubicBezTo>
                    <a:pt x="120" y="83"/>
                    <a:pt x="129" y="76"/>
                    <a:pt x="131" y="73"/>
                  </a:cubicBezTo>
                  <a:cubicBezTo>
                    <a:pt x="133" y="71"/>
                    <a:pt x="143" y="64"/>
                    <a:pt x="146" y="61"/>
                  </a:cubicBezTo>
                  <a:cubicBezTo>
                    <a:pt x="148" y="59"/>
                    <a:pt x="152" y="60"/>
                    <a:pt x="155" y="58"/>
                  </a:cubicBezTo>
                  <a:cubicBezTo>
                    <a:pt x="157" y="56"/>
                    <a:pt x="160" y="56"/>
                    <a:pt x="161" y="57"/>
                  </a:cubicBezTo>
                  <a:cubicBezTo>
                    <a:pt x="162" y="59"/>
                    <a:pt x="167" y="60"/>
                    <a:pt x="170" y="59"/>
                  </a:cubicBezTo>
                  <a:cubicBezTo>
                    <a:pt x="173" y="58"/>
                    <a:pt x="178" y="61"/>
                    <a:pt x="179" y="61"/>
                  </a:cubicBezTo>
                  <a:cubicBezTo>
                    <a:pt x="180" y="60"/>
                    <a:pt x="188" y="55"/>
                    <a:pt x="184" y="54"/>
                  </a:cubicBezTo>
                  <a:cubicBezTo>
                    <a:pt x="181" y="53"/>
                    <a:pt x="180" y="51"/>
                    <a:pt x="176" y="53"/>
                  </a:cubicBezTo>
                  <a:cubicBezTo>
                    <a:pt x="172" y="54"/>
                    <a:pt x="170" y="52"/>
                    <a:pt x="168" y="53"/>
                  </a:cubicBezTo>
                  <a:cubicBezTo>
                    <a:pt x="165" y="53"/>
                    <a:pt x="166" y="49"/>
                    <a:pt x="168" y="46"/>
                  </a:cubicBezTo>
                  <a:cubicBezTo>
                    <a:pt x="170" y="43"/>
                    <a:pt x="172" y="45"/>
                    <a:pt x="173" y="41"/>
                  </a:cubicBezTo>
                  <a:cubicBezTo>
                    <a:pt x="174" y="38"/>
                    <a:pt x="173" y="36"/>
                    <a:pt x="172" y="34"/>
                  </a:cubicBezTo>
                  <a:cubicBezTo>
                    <a:pt x="171" y="33"/>
                    <a:pt x="173" y="28"/>
                    <a:pt x="175" y="25"/>
                  </a:cubicBezTo>
                  <a:cubicBezTo>
                    <a:pt x="177" y="22"/>
                    <a:pt x="181" y="23"/>
                    <a:pt x="184" y="21"/>
                  </a:cubicBezTo>
                  <a:cubicBezTo>
                    <a:pt x="187" y="18"/>
                    <a:pt x="203" y="4"/>
                    <a:pt x="205" y="2"/>
                  </a:cubicBezTo>
                  <a:cubicBezTo>
                    <a:pt x="207" y="0"/>
                    <a:pt x="209" y="4"/>
                    <a:pt x="208" y="7"/>
                  </a:cubicBezTo>
                  <a:cubicBezTo>
                    <a:pt x="208" y="9"/>
                    <a:pt x="210" y="13"/>
                    <a:pt x="212" y="13"/>
                  </a:cubicBezTo>
                  <a:cubicBezTo>
                    <a:pt x="215" y="14"/>
                    <a:pt x="218" y="16"/>
                    <a:pt x="218" y="18"/>
                  </a:cubicBezTo>
                  <a:cubicBezTo>
                    <a:pt x="218" y="20"/>
                    <a:pt x="216" y="24"/>
                    <a:pt x="218" y="26"/>
                  </a:cubicBezTo>
                  <a:cubicBezTo>
                    <a:pt x="219" y="28"/>
                    <a:pt x="220" y="34"/>
                    <a:pt x="219" y="35"/>
                  </a:cubicBezTo>
                  <a:cubicBezTo>
                    <a:pt x="217" y="37"/>
                    <a:pt x="219" y="41"/>
                    <a:pt x="224" y="39"/>
                  </a:cubicBezTo>
                  <a:cubicBezTo>
                    <a:pt x="229" y="37"/>
                    <a:pt x="236" y="42"/>
                    <a:pt x="236" y="45"/>
                  </a:cubicBezTo>
                  <a:cubicBezTo>
                    <a:pt x="236" y="48"/>
                    <a:pt x="238" y="51"/>
                    <a:pt x="241" y="48"/>
                  </a:cubicBezTo>
                  <a:cubicBezTo>
                    <a:pt x="244" y="46"/>
                    <a:pt x="246" y="44"/>
                    <a:pt x="247" y="45"/>
                  </a:cubicBezTo>
                  <a:cubicBezTo>
                    <a:pt x="248" y="47"/>
                    <a:pt x="247" y="50"/>
                    <a:pt x="248" y="52"/>
                  </a:cubicBezTo>
                  <a:cubicBezTo>
                    <a:pt x="248" y="54"/>
                    <a:pt x="252" y="56"/>
                    <a:pt x="251" y="58"/>
                  </a:cubicBezTo>
                  <a:cubicBezTo>
                    <a:pt x="250" y="60"/>
                    <a:pt x="250" y="61"/>
                    <a:pt x="246" y="64"/>
                  </a:cubicBezTo>
                  <a:cubicBezTo>
                    <a:pt x="242" y="67"/>
                    <a:pt x="240" y="67"/>
                    <a:pt x="238" y="70"/>
                  </a:cubicBezTo>
                  <a:cubicBezTo>
                    <a:pt x="235" y="73"/>
                    <a:pt x="232" y="76"/>
                    <a:pt x="230" y="79"/>
                  </a:cubicBezTo>
                  <a:cubicBezTo>
                    <a:pt x="229" y="82"/>
                    <a:pt x="229" y="84"/>
                    <a:pt x="226" y="84"/>
                  </a:cubicBezTo>
                  <a:cubicBezTo>
                    <a:pt x="224" y="85"/>
                    <a:pt x="211" y="81"/>
                    <a:pt x="209" y="85"/>
                  </a:cubicBezTo>
                  <a:cubicBezTo>
                    <a:pt x="206" y="89"/>
                    <a:pt x="201" y="94"/>
                    <a:pt x="203" y="98"/>
                  </a:cubicBezTo>
                  <a:cubicBezTo>
                    <a:pt x="204" y="102"/>
                    <a:pt x="204" y="104"/>
                    <a:pt x="204" y="107"/>
                  </a:cubicBezTo>
                  <a:cubicBezTo>
                    <a:pt x="203" y="111"/>
                    <a:pt x="201" y="114"/>
                    <a:pt x="198" y="113"/>
                  </a:cubicBezTo>
                  <a:cubicBezTo>
                    <a:pt x="196" y="112"/>
                    <a:pt x="193" y="113"/>
                    <a:pt x="192" y="114"/>
                  </a:cubicBezTo>
                  <a:cubicBezTo>
                    <a:pt x="190" y="114"/>
                    <a:pt x="185" y="115"/>
                    <a:pt x="184" y="113"/>
                  </a:cubicBezTo>
                  <a:cubicBezTo>
                    <a:pt x="182" y="112"/>
                    <a:pt x="179" y="111"/>
                    <a:pt x="178" y="113"/>
                  </a:cubicBezTo>
                  <a:cubicBezTo>
                    <a:pt x="177" y="114"/>
                    <a:pt x="180" y="118"/>
                    <a:pt x="180" y="121"/>
                  </a:cubicBezTo>
                  <a:cubicBezTo>
                    <a:pt x="180" y="124"/>
                    <a:pt x="183" y="125"/>
                    <a:pt x="187" y="124"/>
                  </a:cubicBezTo>
                  <a:cubicBezTo>
                    <a:pt x="191" y="123"/>
                    <a:pt x="191" y="120"/>
                    <a:pt x="195" y="122"/>
                  </a:cubicBezTo>
                  <a:cubicBezTo>
                    <a:pt x="198" y="124"/>
                    <a:pt x="200" y="124"/>
                    <a:pt x="204" y="127"/>
                  </a:cubicBezTo>
                  <a:cubicBezTo>
                    <a:pt x="207" y="130"/>
                    <a:pt x="208" y="129"/>
                    <a:pt x="209" y="135"/>
                  </a:cubicBezTo>
                  <a:cubicBezTo>
                    <a:pt x="210" y="141"/>
                    <a:pt x="213" y="139"/>
                    <a:pt x="214" y="145"/>
                  </a:cubicBezTo>
                  <a:cubicBezTo>
                    <a:pt x="216" y="151"/>
                    <a:pt x="216" y="150"/>
                    <a:pt x="216" y="154"/>
                  </a:cubicBezTo>
                  <a:cubicBezTo>
                    <a:pt x="216" y="158"/>
                    <a:pt x="214" y="159"/>
                    <a:pt x="212" y="161"/>
                  </a:cubicBezTo>
                  <a:cubicBezTo>
                    <a:pt x="210" y="163"/>
                    <a:pt x="210" y="165"/>
                    <a:pt x="207" y="167"/>
                  </a:cubicBezTo>
                  <a:cubicBezTo>
                    <a:pt x="203" y="169"/>
                    <a:pt x="199" y="171"/>
                    <a:pt x="199" y="174"/>
                  </a:cubicBezTo>
                  <a:cubicBezTo>
                    <a:pt x="198" y="177"/>
                    <a:pt x="203" y="178"/>
                    <a:pt x="202" y="179"/>
                  </a:cubicBezTo>
                  <a:cubicBezTo>
                    <a:pt x="200" y="181"/>
                    <a:pt x="207" y="179"/>
                    <a:pt x="205" y="176"/>
                  </a:cubicBezTo>
                  <a:cubicBezTo>
                    <a:pt x="203" y="172"/>
                    <a:pt x="207" y="169"/>
                    <a:pt x="208" y="169"/>
                  </a:cubicBezTo>
                  <a:cubicBezTo>
                    <a:pt x="209" y="169"/>
                    <a:pt x="219" y="171"/>
                    <a:pt x="220" y="168"/>
                  </a:cubicBezTo>
                  <a:cubicBezTo>
                    <a:pt x="222" y="164"/>
                    <a:pt x="221" y="159"/>
                    <a:pt x="227" y="161"/>
                  </a:cubicBezTo>
                  <a:cubicBezTo>
                    <a:pt x="233" y="162"/>
                    <a:pt x="230" y="161"/>
                    <a:pt x="234" y="160"/>
                  </a:cubicBezTo>
                  <a:cubicBezTo>
                    <a:pt x="238" y="160"/>
                    <a:pt x="243" y="161"/>
                    <a:pt x="246" y="163"/>
                  </a:cubicBezTo>
                  <a:cubicBezTo>
                    <a:pt x="248" y="165"/>
                    <a:pt x="255" y="161"/>
                    <a:pt x="257" y="159"/>
                  </a:cubicBezTo>
                  <a:cubicBezTo>
                    <a:pt x="258" y="158"/>
                    <a:pt x="263" y="158"/>
                    <a:pt x="264" y="160"/>
                  </a:cubicBezTo>
                  <a:cubicBezTo>
                    <a:pt x="265" y="161"/>
                    <a:pt x="271" y="160"/>
                    <a:pt x="272" y="159"/>
                  </a:cubicBezTo>
                  <a:cubicBezTo>
                    <a:pt x="274" y="158"/>
                    <a:pt x="287" y="168"/>
                    <a:pt x="285" y="171"/>
                  </a:cubicBezTo>
                  <a:cubicBezTo>
                    <a:pt x="283" y="174"/>
                    <a:pt x="275" y="180"/>
                    <a:pt x="272" y="184"/>
                  </a:cubicBezTo>
                  <a:cubicBezTo>
                    <a:pt x="268" y="187"/>
                    <a:pt x="263" y="188"/>
                    <a:pt x="264" y="191"/>
                  </a:cubicBezTo>
                  <a:cubicBezTo>
                    <a:pt x="266" y="195"/>
                    <a:pt x="268" y="200"/>
                    <a:pt x="269" y="203"/>
                  </a:cubicBezTo>
                  <a:cubicBezTo>
                    <a:pt x="271" y="205"/>
                    <a:pt x="274" y="212"/>
                    <a:pt x="273" y="217"/>
                  </a:cubicBezTo>
                  <a:cubicBezTo>
                    <a:pt x="271" y="222"/>
                    <a:pt x="274" y="223"/>
                    <a:pt x="275" y="228"/>
                  </a:cubicBezTo>
                  <a:cubicBezTo>
                    <a:pt x="275" y="230"/>
                    <a:pt x="275" y="231"/>
                    <a:pt x="275" y="232"/>
                  </a:cubicBezTo>
                  <a:cubicBezTo>
                    <a:pt x="271" y="237"/>
                    <a:pt x="271" y="237"/>
                    <a:pt x="271" y="237"/>
                  </a:cubicBezTo>
                  <a:cubicBezTo>
                    <a:pt x="264" y="239"/>
                    <a:pt x="264" y="239"/>
                    <a:pt x="264" y="239"/>
                  </a:cubicBezTo>
                  <a:cubicBezTo>
                    <a:pt x="260" y="235"/>
                    <a:pt x="260" y="235"/>
                    <a:pt x="260" y="235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1" y="254"/>
                    <a:pt x="251" y="254"/>
                    <a:pt x="251" y="254"/>
                  </a:cubicBezTo>
                  <a:cubicBezTo>
                    <a:pt x="245" y="262"/>
                    <a:pt x="245" y="262"/>
                    <a:pt x="245" y="262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1" y="284"/>
                    <a:pt x="241" y="284"/>
                    <a:pt x="241" y="284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13" y="297"/>
                    <a:pt x="213" y="297"/>
                    <a:pt x="213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2" y="277"/>
                    <a:pt x="202" y="277"/>
                    <a:pt x="202" y="277"/>
                  </a:cubicBezTo>
                  <a:cubicBezTo>
                    <a:pt x="190" y="281"/>
                    <a:pt x="190" y="281"/>
                    <a:pt x="190" y="281"/>
                  </a:cubicBezTo>
                  <a:cubicBezTo>
                    <a:pt x="178" y="280"/>
                    <a:pt x="178" y="280"/>
                    <a:pt x="178" y="280"/>
                  </a:cubicBezTo>
                  <a:cubicBezTo>
                    <a:pt x="175" y="288"/>
                    <a:pt x="175" y="288"/>
                    <a:pt x="175" y="288"/>
                  </a:cubicBezTo>
                  <a:cubicBezTo>
                    <a:pt x="162" y="291"/>
                    <a:pt x="162" y="291"/>
                    <a:pt x="162" y="291"/>
                  </a:cubicBezTo>
                  <a:cubicBezTo>
                    <a:pt x="161" y="298"/>
                    <a:pt x="161" y="298"/>
                    <a:pt x="161" y="298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4" y="312"/>
                    <a:pt x="144" y="312"/>
                    <a:pt x="144" y="312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140" y="321"/>
                    <a:pt x="140" y="321"/>
                    <a:pt x="140" y="321"/>
                  </a:cubicBezTo>
                  <a:cubicBezTo>
                    <a:pt x="136" y="326"/>
                    <a:pt x="136" y="326"/>
                    <a:pt x="136" y="32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5" y="335"/>
                    <a:pt x="135" y="335"/>
                    <a:pt x="135" y="33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09" y="359"/>
                    <a:pt x="109" y="359"/>
                    <a:pt x="109" y="359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87" y="362"/>
                    <a:pt x="87" y="362"/>
                    <a:pt x="87" y="362"/>
                  </a:cubicBezTo>
                  <a:cubicBezTo>
                    <a:pt x="80" y="363"/>
                    <a:pt x="80" y="363"/>
                    <a:pt x="80" y="363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1" y="356"/>
                    <a:pt x="61" y="356"/>
                    <a:pt x="61" y="356"/>
                  </a:cubicBezTo>
                  <a:cubicBezTo>
                    <a:pt x="65" y="361"/>
                    <a:pt x="65" y="361"/>
                    <a:pt x="65" y="361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49" y="345"/>
                    <a:pt x="49" y="345"/>
                    <a:pt x="49" y="345"/>
                  </a:cubicBezTo>
                  <a:cubicBezTo>
                    <a:pt x="39" y="346"/>
                    <a:pt x="39" y="346"/>
                    <a:pt x="39" y="346"/>
                  </a:cubicBezTo>
                  <a:cubicBezTo>
                    <a:pt x="26" y="346"/>
                    <a:pt x="26" y="346"/>
                    <a:pt x="26" y="346"/>
                  </a:cubicBezTo>
                  <a:cubicBezTo>
                    <a:pt x="26" y="338"/>
                    <a:pt x="26" y="338"/>
                    <a:pt x="26" y="33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2" y="317"/>
                    <a:pt x="22" y="317"/>
                    <a:pt x="22" y="317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6" y="301"/>
                    <a:pt x="26" y="301"/>
                    <a:pt x="26" y="301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25" y="278"/>
                    <a:pt x="25" y="278"/>
                    <a:pt x="25" y="278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0" y="264"/>
                    <a:pt x="0" y="264"/>
                    <a:pt x="0" y="264"/>
                  </a:cubicBezTo>
                  <a:close/>
                  <a:moveTo>
                    <a:pt x="30" y="60"/>
                  </a:moveTo>
                  <a:cubicBezTo>
                    <a:pt x="30" y="60"/>
                    <a:pt x="22" y="65"/>
                    <a:pt x="21" y="70"/>
                  </a:cubicBezTo>
                  <a:cubicBezTo>
                    <a:pt x="20" y="75"/>
                    <a:pt x="19" y="78"/>
                    <a:pt x="21" y="84"/>
                  </a:cubicBezTo>
                  <a:cubicBezTo>
                    <a:pt x="22" y="89"/>
                    <a:pt x="24" y="93"/>
                    <a:pt x="30" y="95"/>
                  </a:cubicBezTo>
                  <a:cubicBezTo>
                    <a:pt x="36" y="98"/>
                    <a:pt x="39" y="93"/>
                    <a:pt x="37" y="88"/>
                  </a:cubicBezTo>
                  <a:cubicBezTo>
                    <a:pt x="35" y="83"/>
                    <a:pt x="37" y="82"/>
                    <a:pt x="38" y="79"/>
                  </a:cubicBezTo>
                  <a:cubicBezTo>
                    <a:pt x="39" y="77"/>
                    <a:pt x="43" y="71"/>
                    <a:pt x="40" y="64"/>
                  </a:cubicBezTo>
                  <a:cubicBezTo>
                    <a:pt x="38" y="57"/>
                    <a:pt x="35" y="58"/>
                    <a:pt x="30" y="6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8" name="Ханты-Мансийский АО">
              <a:extLst>
                <a:ext uri="{FF2B5EF4-FFF2-40B4-BE49-F238E27FC236}">
                  <a16:creationId xmlns:a16="http://schemas.microsoft.com/office/drawing/2014/main" id="{C308E394-6DE4-9245-D138-429B41B7D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036" y="3748789"/>
              <a:ext cx="1882354" cy="1209271"/>
            </a:xfrm>
            <a:custGeom>
              <a:avLst/>
              <a:gdLst>
                <a:gd name="T0" fmla="*/ 702 w 737"/>
                <a:gd name="T1" fmla="*/ 373 h 531"/>
                <a:gd name="T2" fmla="*/ 723 w 737"/>
                <a:gd name="T3" fmla="*/ 417 h 531"/>
                <a:gd name="T4" fmla="*/ 687 w 737"/>
                <a:gd name="T5" fmla="*/ 437 h 531"/>
                <a:gd name="T6" fmla="*/ 631 w 737"/>
                <a:gd name="T7" fmla="*/ 435 h 531"/>
                <a:gd name="T8" fmla="*/ 608 w 737"/>
                <a:gd name="T9" fmla="*/ 437 h 531"/>
                <a:gd name="T10" fmla="*/ 579 w 737"/>
                <a:gd name="T11" fmla="*/ 425 h 531"/>
                <a:gd name="T12" fmla="*/ 539 w 737"/>
                <a:gd name="T13" fmla="*/ 429 h 531"/>
                <a:gd name="T14" fmla="*/ 508 w 737"/>
                <a:gd name="T15" fmla="*/ 421 h 531"/>
                <a:gd name="T16" fmla="*/ 469 w 737"/>
                <a:gd name="T17" fmla="*/ 419 h 531"/>
                <a:gd name="T18" fmla="*/ 454 w 737"/>
                <a:gd name="T19" fmla="*/ 477 h 531"/>
                <a:gd name="T20" fmla="*/ 412 w 737"/>
                <a:gd name="T21" fmla="*/ 498 h 531"/>
                <a:gd name="T22" fmla="*/ 389 w 737"/>
                <a:gd name="T23" fmla="*/ 527 h 531"/>
                <a:gd name="T24" fmla="*/ 383 w 737"/>
                <a:gd name="T25" fmla="*/ 525 h 531"/>
                <a:gd name="T26" fmla="*/ 354 w 737"/>
                <a:gd name="T27" fmla="*/ 512 h 531"/>
                <a:gd name="T28" fmla="*/ 331 w 737"/>
                <a:gd name="T29" fmla="*/ 485 h 531"/>
                <a:gd name="T30" fmla="*/ 314 w 737"/>
                <a:gd name="T31" fmla="*/ 471 h 531"/>
                <a:gd name="T32" fmla="*/ 281 w 737"/>
                <a:gd name="T33" fmla="*/ 427 h 531"/>
                <a:gd name="T34" fmla="*/ 239 w 737"/>
                <a:gd name="T35" fmla="*/ 406 h 531"/>
                <a:gd name="T36" fmla="*/ 227 w 737"/>
                <a:gd name="T37" fmla="*/ 421 h 531"/>
                <a:gd name="T38" fmla="*/ 196 w 737"/>
                <a:gd name="T39" fmla="*/ 435 h 531"/>
                <a:gd name="T40" fmla="*/ 162 w 737"/>
                <a:gd name="T41" fmla="*/ 444 h 531"/>
                <a:gd name="T42" fmla="*/ 141 w 737"/>
                <a:gd name="T43" fmla="*/ 439 h 531"/>
                <a:gd name="T44" fmla="*/ 114 w 737"/>
                <a:gd name="T45" fmla="*/ 454 h 531"/>
                <a:gd name="T46" fmla="*/ 96 w 737"/>
                <a:gd name="T47" fmla="*/ 444 h 531"/>
                <a:gd name="T48" fmla="*/ 96 w 737"/>
                <a:gd name="T49" fmla="*/ 412 h 531"/>
                <a:gd name="T50" fmla="*/ 79 w 737"/>
                <a:gd name="T51" fmla="*/ 387 h 531"/>
                <a:gd name="T52" fmla="*/ 58 w 737"/>
                <a:gd name="T53" fmla="*/ 367 h 531"/>
                <a:gd name="T54" fmla="*/ 68 w 737"/>
                <a:gd name="T55" fmla="*/ 346 h 531"/>
                <a:gd name="T56" fmla="*/ 60 w 737"/>
                <a:gd name="T57" fmla="*/ 314 h 531"/>
                <a:gd name="T58" fmla="*/ 66 w 737"/>
                <a:gd name="T59" fmla="*/ 283 h 531"/>
                <a:gd name="T60" fmla="*/ 54 w 737"/>
                <a:gd name="T61" fmla="*/ 252 h 531"/>
                <a:gd name="T62" fmla="*/ 10 w 737"/>
                <a:gd name="T63" fmla="*/ 204 h 531"/>
                <a:gd name="T64" fmla="*/ 0 w 737"/>
                <a:gd name="T65" fmla="*/ 185 h 531"/>
                <a:gd name="T66" fmla="*/ 0 w 737"/>
                <a:gd name="T67" fmla="*/ 175 h 531"/>
                <a:gd name="T68" fmla="*/ 23 w 737"/>
                <a:gd name="T69" fmla="*/ 141 h 531"/>
                <a:gd name="T70" fmla="*/ 23 w 737"/>
                <a:gd name="T71" fmla="*/ 123 h 531"/>
                <a:gd name="T72" fmla="*/ 50 w 737"/>
                <a:gd name="T73" fmla="*/ 96 h 531"/>
                <a:gd name="T74" fmla="*/ 66 w 737"/>
                <a:gd name="T75" fmla="*/ 71 h 531"/>
                <a:gd name="T76" fmla="*/ 96 w 737"/>
                <a:gd name="T77" fmla="*/ 21 h 531"/>
                <a:gd name="T78" fmla="*/ 104 w 737"/>
                <a:gd name="T79" fmla="*/ 33 h 531"/>
                <a:gd name="T80" fmla="*/ 152 w 737"/>
                <a:gd name="T81" fmla="*/ 0 h 531"/>
                <a:gd name="T82" fmla="*/ 162 w 737"/>
                <a:gd name="T83" fmla="*/ 37 h 531"/>
                <a:gd name="T84" fmla="*/ 168 w 737"/>
                <a:gd name="T85" fmla="*/ 100 h 531"/>
                <a:gd name="T86" fmla="*/ 208 w 737"/>
                <a:gd name="T87" fmla="*/ 110 h 531"/>
                <a:gd name="T88" fmla="*/ 256 w 737"/>
                <a:gd name="T89" fmla="*/ 121 h 531"/>
                <a:gd name="T90" fmla="*/ 260 w 737"/>
                <a:gd name="T91" fmla="*/ 154 h 531"/>
                <a:gd name="T92" fmla="*/ 285 w 737"/>
                <a:gd name="T93" fmla="*/ 141 h 531"/>
                <a:gd name="T94" fmla="*/ 308 w 737"/>
                <a:gd name="T95" fmla="*/ 144 h 531"/>
                <a:gd name="T96" fmla="*/ 341 w 737"/>
                <a:gd name="T97" fmla="*/ 164 h 531"/>
                <a:gd name="T98" fmla="*/ 360 w 737"/>
                <a:gd name="T99" fmla="*/ 208 h 531"/>
                <a:gd name="T100" fmla="*/ 364 w 737"/>
                <a:gd name="T101" fmla="*/ 239 h 531"/>
                <a:gd name="T102" fmla="*/ 408 w 737"/>
                <a:gd name="T103" fmla="*/ 252 h 531"/>
                <a:gd name="T104" fmla="*/ 437 w 737"/>
                <a:gd name="T105" fmla="*/ 269 h 531"/>
                <a:gd name="T106" fmla="*/ 456 w 737"/>
                <a:gd name="T107" fmla="*/ 267 h 531"/>
                <a:gd name="T108" fmla="*/ 481 w 737"/>
                <a:gd name="T109" fmla="*/ 275 h 531"/>
                <a:gd name="T110" fmla="*/ 500 w 737"/>
                <a:gd name="T111" fmla="*/ 296 h 531"/>
                <a:gd name="T112" fmla="*/ 579 w 737"/>
                <a:gd name="T113" fmla="*/ 312 h 531"/>
                <a:gd name="T114" fmla="*/ 610 w 737"/>
                <a:gd name="T115" fmla="*/ 287 h 531"/>
                <a:gd name="T116" fmla="*/ 629 w 737"/>
                <a:gd name="T117" fmla="*/ 321 h 531"/>
                <a:gd name="T118" fmla="*/ 654 w 737"/>
                <a:gd name="T119" fmla="*/ 321 h 531"/>
                <a:gd name="T120" fmla="*/ 679 w 737"/>
                <a:gd name="T121" fmla="*/ 333 h 531"/>
                <a:gd name="T122" fmla="*/ 702 w 737"/>
                <a:gd name="T123" fmla="*/ 3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7" h="531">
                  <a:moveTo>
                    <a:pt x="702" y="350"/>
                  </a:moveTo>
                  <a:lnTo>
                    <a:pt x="702" y="373"/>
                  </a:lnTo>
                  <a:lnTo>
                    <a:pt x="737" y="396"/>
                  </a:lnTo>
                  <a:lnTo>
                    <a:pt x="723" y="417"/>
                  </a:lnTo>
                  <a:lnTo>
                    <a:pt x="708" y="421"/>
                  </a:lnTo>
                  <a:lnTo>
                    <a:pt x="687" y="437"/>
                  </a:lnTo>
                  <a:lnTo>
                    <a:pt x="658" y="421"/>
                  </a:lnTo>
                  <a:lnTo>
                    <a:pt x="631" y="435"/>
                  </a:lnTo>
                  <a:lnTo>
                    <a:pt x="627" y="450"/>
                  </a:lnTo>
                  <a:lnTo>
                    <a:pt x="608" y="437"/>
                  </a:lnTo>
                  <a:lnTo>
                    <a:pt x="596" y="442"/>
                  </a:lnTo>
                  <a:lnTo>
                    <a:pt x="579" y="425"/>
                  </a:lnTo>
                  <a:lnTo>
                    <a:pt x="564" y="431"/>
                  </a:lnTo>
                  <a:lnTo>
                    <a:pt x="539" y="429"/>
                  </a:lnTo>
                  <a:lnTo>
                    <a:pt x="533" y="421"/>
                  </a:lnTo>
                  <a:lnTo>
                    <a:pt x="508" y="421"/>
                  </a:lnTo>
                  <a:lnTo>
                    <a:pt x="496" y="414"/>
                  </a:lnTo>
                  <a:lnTo>
                    <a:pt x="469" y="419"/>
                  </a:lnTo>
                  <a:lnTo>
                    <a:pt x="454" y="454"/>
                  </a:lnTo>
                  <a:lnTo>
                    <a:pt x="454" y="477"/>
                  </a:lnTo>
                  <a:lnTo>
                    <a:pt x="435" y="481"/>
                  </a:lnTo>
                  <a:lnTo>
                    <a:pt x="412" y="498"/>
                  </a:lnTo>
                  <a:lnTo>
                    <a:pt x="410" y="510"/>
                  </a:lnTo>
                  <a:lnTo>
                    <a:pt x="389" y="527"/>
                  </a:lnTo>
                  <a:lnTo>
                    <a:pt x="383" y="531"/>
                  </a:lnTo>
                  <a:lnTo>
                    <a:pt x="383" y="525"/>
                  </a:lnTo>
                  <a:lnTo>
                    <a:pt x="369" y="517"/>
                  </a:lnTo>
                  <a:lnTo>
                    <a:pt x="354" y="512"/>
                  </a:lnTo>
                  <a:lnTo>
                    <a:pt x="331" y="500"/>
                  </a:lnTo>
                  <a:lnTo>
                    <a:pt x="331" y="485"/>
                  </a:lnTo>
                  <a:lnTo>
                    <a:pt x="314" y="485"/>
                  </a:lnTo>
                  <a:lnTo>
                    <a:pt x="314" y="471"/>
                  </a:lnTo>
                  <a:lnTo>
                    <a:pt x="306" y="450"/>
                  </a:lnTo>
                  <a:lnTo>
                    <a:pt x="281" y="427"/>
                  </a:lnTo>
                  <a:lnTo>
                    <a:pt x="258" y="423"/>
                  </a:lnTo>
                  <a:lnTo>
                    <a:pt x="239" y="406"/>
                  </a:lnTo>
                  <a:lnTo>
                    <a:pt x="227" y="404"/>
                  </a:lnTo>
                  <a:lnTo>
                    <a:pt x="227" y="421"/>
                  </a:lnTo>
                  <a:lnTo>
                    <a:pt x="208" y="425"/>
                  </a:lnTo>
                  <a:lnTo>
                    <a:pt x="196" y="435"/>
                  </a:lnTo>
                  <a:lnTo>
                    <a:pt x="173" y="435"/>
                  </a:lnTo>
                  <a:lnTo>
                    <a:pt x="162" y="444"/>
                  </a:lnTo>
                  <a:lnTo>
                    <a:pt x="148" y="437"/>
                  </a:lnTo>
                  <a:lnTo>
                    <a:pt x="141" y="439"/>
                  </a:lnTo>
                  <a:lnTo>
                    <a:pt x="139" y="454"/>
                  </a:lnTo>
                  <a:lnTo>
                    <a:pt x="114" y="454"/>
                  </a:lnTo>
                  <a:lnTo>
                    <a:pt x="102" y="450"/>
                  </a:lnTo>
                  <a:lnTo>
                    <a:pt x="96" y="444"/>
                  </a:lnTo>
                  <a:lnTo>
                    <a:pt x="93" y="427"/>
                  </a:lnTo>
                  <a:lnTo>
                    <a:pt x="96" y="412"/>
                  </a:lnTo>
                  <a:lnTo>
                    <a:pt x="83" y="408"/>
                  </a:lnTo>
                  <a:lnTo>
                    <a:pt x="79" y="387"/>
                  </a:lnTo>
                  <a:lnTo>
                    <a:pt x="62" y="381"/>
                  </a:lnTo>
                  <a:lnTo>
                    <a:pt x="58" y="367"/>
                  </a:lnTo>
                  <a:lnTo>
                    <a:pt x="66" y="356"/>
                  </a:lnTo>
                  <a:lnTo>
                    <a:pt x="68" y="346"/>
                  </a:lnTo>
                  <a:lnTo>
                    <a:pt x="58" y="331"/>
                  </a:lnTo>
                  <a:lnTo>
                    <a:pt x="60" y="314"/>
                  </a:lnTo>
                  <a:lnTo>
                    <a:pt x="60" y="294"/>
                  </a:lnTo>
                  <a:lnTo>
                    <a:pt x="66" y="283"/>
                  </a:lnTo>
                  <a:lnTo>
                    <a:pt x="66" y="262"/>
                  </a:lnTo>
                  <a:lnTo>
                    <a:pt x="54" y="252"/>
                  </a:lnTo>
                  <a:lnTo>
                    <a:pt x="48" y="235"/>
                  </a:lnTo>
                  <a:lnTo>
                    <a:pt x="10" y="204"/>
                  </a:lnTo>
                  <a:lnTo>
                    <a:pt x="12" y="194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0" y="175"/>
                  </a:lnTo>
                  <a:lnTo>
                    <a:pt x="18" y="156"/>
                  </a:lnTo>
                  <a:lnTo>
                    <a:pt x="23" y="141"/>
                  </a:lnTo>
                  <a:lnTo>
                    <a:pt x="25" y="137"/>
                  </a:lnTo>
                  <a:lnTo>
                    <a:pt x="23" y="123"/>
                  </a:lnTo>
                  <a:lnTo>
                    <a:pt x="29" y="104"/>
                  </a:lnTo>
                  <a:lnTo>
                    <a:pt x="50" y="96"/>
                  </a:lnTo>
                  <a:lnTo>
                    <a:pt x="50" y="77"/>
                  </a:lnTo>
                  <a:lnTo>
                    <a:pt x="66" y="71"/>
                  </a:lnTo>
                  <a:lnTo>
                    <a:pt x="64" y="52"/>
                  </a:lnTo>
                  <a:lnTo>
                    <a:pt x="96" y="21"/>
                  </a:lnTo>
                  <a:lnTo>
                    <a:pt x="108" y="25"/>
                  </a:lnTo>
                  <a:lnTo>
                    <a:pt x="104" y="33"/>
                  </a:lnTo>
                  <a:lnTo>
                    <a:pt x="118" y="31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62" y="37"/>
                  </a:lnTo>
                  <a:lnTo>
                    <a:pt x="143" y="69"/>
                  </a:lnTo>
                  <a:lnTo>
                    <a:pt x="168" y="100"/>
                  </a:lnTo>
                  <a:lnTo>
                    <a:pt x="196" y="102"/>
                  </a:lnTo>
                  <a:lnTo>
                    <a:pt x="208" y="110"/>
                  </a:lnTo>
                  <a:lnTo>
                    <a:pt x="235" y="100"/>
                  </a:lnTo>
                  <a:lnTo>
                    <a:pt x="256" y="121"/>
                  </a:lnTo>
                  <a:lnTo>
                    <a:pt x="248" y="135"/>
                  </a:lnTo>
                  <a:lnTo>
                    <a:pt x="260" y="154"/>
                  </a:lnTo>
                  <a:lnTo>
                    <a:pt x="277" y="154"/>
                  </a:lnTo>
                  <a:lnTo>
                    <a:pt x="285" y="141"/>
                  </a:lnTo>
                  <a:lnTo>
                    <a:pt x="296" y="154"/>
                  </a:lnTo>
                  <a:lnTo>
                    <a:pt x="308" y="144"/>
                  </a:lnTo>
                  <a:lnTo>
                    <a:pt x="327" y="146"/>
                  </a:lnTo>
                  <a:lnTo>
                    <a:pt x="341" y="164"/>
                  </a:lnTo>
                  <a:lnTo>
                    <a:pt x="346" y="194"/>
                  </a:lnTo>
                  <a:lnTo>
                    <a:pt x="360" y="208"/>
                  </a:lnTo>
                  <a:lnTo>
                    <a:pt x="356" y="219"/>
                  </a:lnTo>
                  <a:lnTo>
                    <a:pt x="364" y="239"/>
                  </a:lnTo>
                  <a:lnTo>
                    <a:pt x="400" y="235"/>
                  </a:lnTo>
                  <a:lnTo>
                    <a:pt x="408" y="252"/>
                  </a:lnTo>
                  <a:lnTo>
                    <a:pt x="419" y="252"/>
                  </a:lnTo>
                  <a:lnTo>
                    <a:pt x="437" y="269"/>
                  </a:lnTo>
                  <a:lnTo>
                    <a:pt x="448" y="262"/>
                  </a:lnTo>
                  <a:lnTo>
                    <a:pt x="456" y="267"/>
                  </a:lnTo>
                  <a:lnTo>
                    <a:pt x="477" y="281"/>
                  </a:lnTo>
                  <a:lnTo>
                    <a:pt x="481" y="275"/>
                  </a:lnTo>
                  <a:lnTo>
                    <a:pt x="502" y="283"/>
                  </a:lnTo>
                  <a:lnTo>
                    <a:pt x="500" y="296"/>
                  </a:lnTo>
                  <a:lnTo>
                    <a:pt x="525" y="314"/>
                  </a:lnTo>
                  <a:lnTo>
                    <a:pt x="579" y="312"/>
                  </a:lnTo>
                  <a:lnTo>
                    <a:pt x="585" y="302"/>
                  </a:lnTo>
                  <a:lnTo>
                    <a:pt x="610" y="287"/>
                  </a:lnTo>
                  <a:lnTo>
                    <a:pt x="614" y="302"/>
                  </a:lnTo>
                  <a:lnTo>
                    <a:pt x="629" y="321"/>
                  </a:lnTo>
                  <a:lnTo>
                    <a:pt x="639" y="312"/>
                  </a:lnTo>
                  <a:lnTo>
                    <a:pt x="654" y="321"/>
                  </a:lnTo>
                  <a:lnTo>
                    <a:pt x="667" y="339"/>
                  </a:lnTo>
                  <a:lnTo>
                    <a:pt x="679" y="333"/>
                  </a:lnTo>
                  <a:lnTo>
                    <a:pt x="694" y="339"/>
                  </a:lnTo>
                  <a:lnTo>
                    <a:pt x="702" y="3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9" name="Ненецкий АО">
              <a:extLst>
                <a:ext uri="{FF2B5EF4-FFF2-40B4-BE49-F238E27FC236}">
                  <a16:creationId xmlns:a16="http://schemas.microsoft.com/office/drawing/2014/main" id="{3C70D78D-90DE-127D-5E55-8E15575F7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9235" y="2842403"/>
              <a:ext cx="1325565" cy="735583"/>
            </a:xfrm>
            <a:custGeom>
              <a:avLst/>
              <a:gdLst>
                <a:gd name="T0" fmla="*/ 0 w 249"/>
                <a:gd name="T1" fmla="*/ 63 h 155"/>
                <a:gd name="T2" fmla="*/ 12 w 249"/>
                <a:gd name="T3" fmla="*/ 38 h 155"/>
                <a:gd name="T4" fmla="*/ 31 w 249"/>
                <a:gd name="T5" fmla="*/ 4 h 155"/>
                <a:gd name="T6" fmla="*/ 53 w 249"/>
                <a:gd name="T7" fmla="*/ 21 h 155"/>
                <a:gd name="T8" fmla="*/ 46 w 249"/>
                <a:gd name="T9" fmla="*/ 46 h 155"/>
                <a:gd name="T10" fmla="*/ 25 w 249"/>
                <a:gd name="T11" fmla="*/ 50 h 155"/>
                <a:gd name="T12" fmla="*/ 30 w 249"/>
                <a:gd name="T13" fmla="*/ 70 h 155"/>
                <a:gd name="T14" fmla="*/ 57 w 249"/>
                <a:gd name="T15" fmla="*/ 59 h 155"/>
                <a:gd name="T16" fmla="*/ 83 w 249"/>
                <a:gd name="T17" fmla="*/ 61 h 155"/>
                <a:gd name="T18" fmla="*/ 116 w 249"/>
                <a:gd name="T19" fmla="*/ 67 h 155"/>
                <a:gd name="T20" fmla="*/ 136 w 249"/>
                <a:gd name="T21" fmla="*/ 61 h 155"/>
                <a:gd name="T22" fmla="*/ 127 w 249"/>
                <a:gd name="T23" fmla="*/ 74 h 155"/>
                <a:gd name="T24" fmla="*/ 133 w 249"/>
                <a:gd name="T25" fmla="*/ 84 h 155"/>
                <a:gd name="T26" fmla="*/ 156 w 249"/>
                <a:gd name="T27" fmla="*/ 83 h 155"/>
                <a:gd name="T28" fmla="*/ 175 w 249"/>
                <a:gd name="T29" fmla="*/ 85 h 155"/>
                <a:gd name="T30" fmla="*/ 182 w 249"/>
                <a:gd name="T31" fmla="*/ 95 h 155"/>
                <a:gd name="T32" fmla="*/ 188 w 249"/>
                <a:gd name="T33" fmla="*/ 97 h 155"/>
                <a:gd name="T34" fmla="*/ 202 w 249"/>
                <a:gd name="T35" fmla="*/ 88 h 155"/>
                <a:gd name="T36" fmla="*/ 198 w 249"/>
                <a:gd name="T37" fmla="*/ 64 h 155"/>
                <a:gd name="T38" fmla="*/ 203 w 249"/>
                <a:gd name="T39" fmla="*/ 45 h 155"/>
                <a:gd name="T40" fmla="*/ 213 w 249"/>
                <a:gd name="T41" fmla="*/ 71 h 155"/>
                <a:gd name="T42" fmla="*/ 238 w 249"/>
                <a:gd name="T43" fmla="*/ 87 h 155"/>
                <a:gd name="T44" fmla="*/ 249 w 249"/>
                <a:gd name="T45" fmla="*/ 105 h 155"/>
                <a:gd name="T46" fmla="*/ 248 w 249"/>
                <a:gd name="T47" fmla="*/ 121 h 155"/>
                <a:gd name="T48" fmla="*/ 246 w 249"/>
                <a:gd name="T49" fmla="*/ 132 h 155"/>
                <a:gd name="T50" fmla="*/ 230 w 249"/>
                <a:gd name="T51" fmla="*/ 134 h 155"/>
                <a:gd name="T52" fmla="*/ 220 w 249"/>
                <a:gd name="T53" fmla="*/ 142 h 155"/>
                <a:gd name="T54" fmla="*/ 201 w 249"/>
                <a:gd name="T55" fmla="*/ 151 h 155"/>
                <a:gd name="T56" fmla="*/ 181 w 249"/>
                <a:gd name="T57" fmla="*/ 152 h 155"/>
                <a:gd name="T58" fmla="*/ 149 w 249"/>
                <a:gd name="T59" fmla="*/ 136 h 155"/>
                <a:gd name="T60" fmla="*/ 130 w 249"/>
                <a:gd name="T61" fmla="*/ 127 h 155"/>
                <a:gd name="T62" fmla="*/ 107 w 249"/>
                <a:gd name="T63" fmla="*/ 113 h 155"/>
                <a:gd name="T64" fmla="*/ 93 w 249"/>
                <a:gd name="T65" fmla="*/ 104 h 155"/>
                <a:gd name="T66" fmla="*/ 77 w 249"/>
                <a:gd name="T67" fmla="*/ 107 h 155"/>
                <a:gd name="T68" fmla="*/ 32 w 249"/>
                <a:gd name="T69" fmla="*/ 100 h 155"/>
                <a:gd name="T70" fmla="*/ 24 w 249"/>
                <a:gd name="T71" fmla="*/ 105 h 155"/>
                <a:gd name="T72" fmla="*/ 15 w 249"/>
                <a:gd name="T73" fmla="*/ 92 h 155"/>
                <a:gd name="T74" fmla="*/ 5 w 249"/>
                <a:gd name="T75" fmla="*/ 77 h 155"/>
                <a:gd name="T76" fmla="*/ 89 w 249"/>
                <a:gd name="T77" fmla="*/ 22 h 155"/>
                <a:gd name="T78" fmla="*/ 97 w 249"/>
                <a:gd name="T79" fmla="*/ 37 h 155"/>
                <a:gd name="T80" fmla="*/ 95 w 249"/>
                <a:gd name="T81" fmla="*/ 1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9" h="155">
                  <a:moveTo>
                    <a:pt x="0" y="63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59"/>
                    <a:pt x="11" y="55"/>
                    <a:pt x="10" y="50"/>
                  </a:cubicBezTo>
                  <a:cubicBezTo>
                    <a:pt x="10" y="46"/>
                    <a:pt x="8" y="43"/>
                    <a:pt x="12" y="38"/>
                  </a:cubicBezTo>
                  <a:cubicBezTo>
                    <a:pt x="16" y="34"/>
                    <a:pt x="31" y="26"/>
                    <a:pt x="32" y="23"/>
                  </a:cubicBezTo>
                  <a:cubicBezTo>
                    <a:pt x="34" y="19"/>
                    <a:pt x="32" y="5"/>
                    <a:pt x="31" y="4"/>
                  </a:cubicBezTo>
                  <a:cubicBezTo>
                    <a:pt x="30" y="4"/>
                    <a:pt x="34" y="0"/>
                    <a:pt x="39" y="8"/>
                  </a:cubicBezTo>
                  <a:cubicBezTo>
                    <a:pt x="43" y="16"/>
                    <a:pt x="48" y="18"/>
                    <a:pt x="53" y="21"/>
                  </a:cubicBezTo>
                  <a:cubicBezTo>
                    <a:pt x="58" y="23"/>
                    <a:pt x="55" y="32"/>
                    <a:pt x="52" y="38"/>
                  </a:cubicBezTo>
                  <a:cubicBezTo>
                    <a:pt x="50" y="45"/>
                    <a:pt x="50" y="48"/>
                    <a:pt x="46" y="46"/>
                  </a:cubicBezTo>
                  <a:cubicBezTo>
                    <a:pt x="41" y="43"/>
                    <a:pt x="33" y="42"/>
                    <a:pt x="30" y="43"/>
                  </a:cubicBezTo>
                  <a:cubicBezTo>
                    <a:pt x="26" y="45"/>
                    <a:pt x="23" y="46"/>
                    <a:pt x="25" y="50"/>
                  </a:cubicBezTo>
                  <a:cubicBezTo>
                    <a:pt x="26" y="53"/>
                    <a:pt x="27" y="56"/>
                    <a:pt x="25" y="59"/>
                  </a:cubicBezTo>
                  <a:cubicBezTo>
                    <a:pt x="23" y="63"/>
                    <a:pt x="26" y="68"/>
                    <a:pt x="30" y="70"/>
                  </a:cubicBezTo>
                  <a:cubicBezTo>
                    <a:pt x="33" y="72"/>
                    <a:pt x="44" y="73"/>
                    <a:pt x="46" y="70"/>
                  </a:cubicBezTo>
                  <a:cubicBezTo>
                    <a:pt x="48" y="67"/>
                    <a:pt x="53" y="56"/>
                    <a:pt x="57" y="59"/>
                  </a:cubicBezTo>
                  <a:cubicBezTo>
                    <a:pt x="61" y="62"/>
                    <a:pt x="65" y="65"/>
                    <a:pt x="68" y="62"/>
                  </a:cubicBezTo>
                  <a:cubicBezTo>
                    <a:pt x="71" y="59"/>
                    <a:pt x="78" y="64"/>
                    <a:pt x="83" y="61"/>
                  </a:cubicBezTo>
                  <a:cubicBezTo>
                    <a:pt x="89" y="58"/>
                    <a:pt x="97" y="56"/>
                    <a:pt x="104" y="61"/>
                  </a:cubicBezTo>
                  <a:cubicBezTo>
                    <a:pt x="110" y="65"/>
                    <a:pt x="113" y="72"/>
                    <a:pt x="116" y="67"/>
                  </a:cubicBezTo>
                  <a:cubicBezTo>
                    <a:pt x="118" y="61"/>
                    <a:pt x="120" y="60"/>
                    <a:pt x="123" y="59"/>
                  </a:cubicBezTo>
                  <a:cubicBezTo>
                    <a:pt x="125" y="58"/>
                    <a:pt x="135" y="59"/>
                    <a:pt x="136" y="61"/>
                  </a:cubicBezTo>
                  <a:cubicBezTo>
                    <a:pt x="137" y="63"/>
                    <a:pt x="134" y="65"/>
                    <a:pt x="132" y="67"/>
                  </a:cubicBezTo>
                  <a:cubicBezTo>
                    <a:pt x="130" y="70"/>
                    <a:pt x="128" y="72"/>
                    <a:pt x="127" y="74"/>
                  </a:cubicBezTo>
                  <a:cubicBezTo>
                    <a:pt x="127" y="76"/>
                    <a:pt x="122" y="74"/>
                    <a:pt x="123" y="76"/>
                  </a:cubicBezTo>
                  <a:cubicBezTo>
                    <a:pt x="124" y="78"/>
                    <a:pt x="129" y="87"/>
                    <a:pt x="133" y="84"/>
                  </a:cubicBezTo>
                  <a:cubicBezTo>
                    <a:pt x="138" y="81"/>
                    <a:pt x="138" y="79"/>
                    <a:pt x="144" y="79"/>
                  </a:cubicBezTo>
                  <a:cubicBezTo>
                    <a:pt x="151" y="79"/>
                    <a:pt x="154" y="80"/>
                    <a:pt x="156" y="83"/>
                  </a:cubicBezTo>
                  <a:cubicBezTo>
                    <a:pt x="157" y="86"/>
                    <a:pt x="159" y="90"/>
                    <a:pt x="163" y="88"/>
                  </a:cubicBezTo>
                  <a:cubicBezTo>
                    <a:pt x="167" y="86"/>
                    <a:pt x="172" y="86"/>
                    <a:pt x="175" y="85"/>
                  </a:cubicBezTo>
                  <a:cubicBezTo>
                    <a:pt x="177" y="84"/>
                    <a:pt x="178" y="81"/>
                    <a:pt x="183" y="84"/>
                  </a:cubicBezTo>
                  <a:cubicBezTo>
                    <a:pt x="188" y="88"/>
                    <a:pt x="185" y="91"/>
                    <a:pt x="182" y="95"/>
                  </a:cubicBezTo>
                  <a:cubicBezTo>
                    <a:pt x="178" y="98"/>
                    <a:pt x="180" y="102"/>
                    <a:pt x="182" y="104"/>
                  </a:cubicBezTo>
                  <a:cubicBezTo>
                    <a:pt x="184" y="105"/>
                    <a:pt x="188" y="100"/>
                    <a:pt x="188" y="97"/>
                  </a:cubicBezTo>
                  <a:cubicBezTo>
                    <a:pt x="187" y="94"/>
                    <a:pt x="195" y="96"/>
                    <a:pt x="197" y="98"/>
                  </a:cubicBezTo>
                  <a:cubicBezTo>
                    <a:pt x="200" y="100"/>
                    <a:pt x="204" y="92"/>
                    <a:pt x="202" y="88"/>
                  </a:cubicBezTo>
                  <a:cubicBezTo>
                    <a:pt x="200" y="83"/>
                    <a:pt x="202" y="78"/>
                    <a:pt x="203" y="75"/>
                  </a:cubicBezTo>
                  <a:cubicBezTo>
                    <a:pt x="204" y="71"/>
                    <a:pt x="202" y="68"/>
                    <a:pt x="198" y="64"/>
                  </a:cubicBezTo>
                  <a:cubicBezTo>
                    <a:pt x="195" y="61"/>
                    <a:pt x="191" y="58"/>
                    <a:pt x="193" y="52"/>
                  </a:cubicBezTo>
                  <a:cubicBezTo>
                    <a:pt x="195" y="47"/>
                    <a:pt x="200" y="40"/>
                    <a:pt x="203" y="45"/>
                  </a:cubicBezTo>
                  <a:cubicBezTo>
                    <a:pt x="206" y="50"/>
                    <a:pt x="210" y="61"/>
                    <a:pt x="210" y="64"/>
                  </a:cubicBezTo>
                  <a:cubicBezTo>
                    <a:pt x="209" y="68"/>
                    <a:pt x="210" y="72"/>
                    <a:pt x="213" y="71"/>
                  </a:cubicBezTo>
                  <a:cubicBezTo>
                    <a:pt x="216" y="71"/>
                    <a:pt x="220" y="74"/>
                    <a:pt x="223" y="77"/>
                  </a:cubicBezTo>
                  <a:cubicBezTo>
                    <a:pt x="225" y="80"/>
                    <a:pt x="232" y="79"/>
                    <a:pt x="238" y="87"/>
                  </a:cubicBezTo>
                  <a:cubicBezTo>
                    <a:pt x="244" y="94"/>
                    <a:pt x="243" y="96"/>
                    <a:pt x="247" y="102"/>
                  </a:cubicBezTo>
                  <a:cubicBezTo>
                    <a:pt x="247" y="103"/>
                    <a:pt x="248" y="104"/>
                    <a:pt x="249" y="105"/>
                  </a:cubicBezTo>
                  <a:cubicBezTo>
                    <a:pt x="241" y="116"/>
                    <a:pt x="241" y="116"/>
                    <a:pt x="241" y="116"/>
                  </a:cubicBezTo>
                  <a:cubicBezTo>
                    <a:pt x="248" y="121"/>
                    <a:pt x="248" y="121"/>
                    <a:pt x="248" y="121"/>
                  </a:cubicBezTo>
                  <a:cubicBezTo>
                    <a:pt x="247" y="131"/>
                    <a:pt x="247" y="131"/>
                    <a:pt x="247" y="131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8" y="128"/>
                    <a:pt x="238" y="128"/>
                    <a:pt x="238" y="128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0" y="142"/>
                    <a:pt x="220" y="142"/>
                    <a:pt x="220" y="142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0" y="127"/>
                    <a:pt x="130" y="127"/>
                    <a:pt x="130" y="127"/>
                  </a:cubicBezTo>
                  <a:cubicBezTo>
                    <a:pt x="122" y="124"/>
                    <a:pt x="122" y="124"/>
                    <a:pt x="122" y="12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0" y="63"/>
                    <a:pt x="0" y="63"/>
                    <a:pt x="0" y="63"/>
                  </a:cubicBezTo>
                  <a:close/>
                  <a:moveTo>
                    <a:pt x="89" y="22"/>
                  </a:moveTo>
                  <a:cubicBezTo>
                    <a:pt x="82" y="27"/>
                    <a:pt x="82" y="27"/>
                    <a:pt x="82" y="33"/>
                  </a:cubicBezTo>
                  <a:cubicBezTo>
                    <a:pt x="82" y="39"/>
                    <a:pt x="89" y="38"/>
                    <a:pt x="97" y="37"/>
                  </a:cubicBezTo>
                  <a:cubicBezTo>
                    <a:pt x="104" y="36"/>
                    <a:pt x="106" y="31"/>
                    <a:pt x="105" y="28"/>
                  </a:cubicBezTo>
                  <a:cubicBezTo>
                    <a:pt x="104" y="24"/>
                    <a:pt x="100" y="19"/>
                    <a:pt x="95" y="19"/>
                  </a:cubicBezTo>
                  <a:cubicBezTo>
                    <a:pt x="91" y="19"/>
                    <a:pt x="89" y="22"/>
                    <a:pt x="89" y="2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0" name="Еврейская АО">
              <a:extLst>
                <a:ext uri="{FF2B5EF4-FFF2-40B4-BE49-F238E27FC236}">
                  <a16:creationId xmlns:a16="http://schemas.microsoft.com/office/drawing/2014/main" id="{6CBA670B-673C-A1DB-AD45-7EA46C2FC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6237" y="5142523"/>
              <a:ext cx="416315" cy="337047"/>
            </a:xfrm>
            <a:custGeom>
              <a:avLst/>
              <a:gdLst>
                <a:gd name="T0" fmla="*/ 77 w 78"/>
                <a:gd name="T1" fmla="*/ 27 h 71"/>
                <a:gd name="T2" fmla="*/ 73 w 78"/>
                <a:gd name="T3" fmla="*/ 20 h 71"/>
                <a:gd name="T4" fmla="*/ 65 w 78"/>
                <a:gd name="T5" fmla="*/ 15 h 71"/>
                <a:gd name="T6" fmla="*/ 55 w 78"/>
                <a:gd name="T7" fmla="*/ 29 h 71"/>
                <a:gd name="T8" fmla="*/ 50 w 78"/>
                <a:gd name="T9" fmla="*/ 37 h 71"/>
                <a:gd name="T10" fmla="*/ 45 w 78"/>
                <a:gd name="T11" fmla="*/ 48 h 71"/>
                <a:gd name="T12" fmla="*/ 41 w 78"/>
                <a:gd name="T13" fmla="*/ 57 h 71"/>
                <a:gd name="T14" fmla="*/ 23 w 78"/>
                <a:gd name="T15" fmla="*/ 69 h 71"/>
                <a:gd name="T16" fmla="*/ 12 w 78"/>
                <a:gd name="T17" fmla="*/ 66 h 71"/>
                <a:gd name="T18" fmla="*/ 8 w 78"/>
                <a:gd name="T19" fmla="*/ 59 h 71"/>
                <a:gd name="T20" fmla="*/ 0 w 78"/>
                <a:gd name="T21" fmla="*/ 53 h 71"/>
                <a:gd name="T22" fmla="*/ 0 w 78"/>
                <a:gd name="T23" fmla="*/ 53 h 71"/>
                <a:gd name="T24" fmla="*/ 0 w 78"/>
                <a:gd name="T25" fmla="*/ 46 h 71"/>
                <a:gd name="T26" fmla="*/ 0 w 78"/>
                <a:gd name="T27" fmla="*/ 37 h 71"/>
                <a:gd name="T28" fmla="*/ 3 w 78"/>
                <a:gd name="T29" fmla="*/ 34 h 71"/>
                <a:gd name="T30" fmla="*/ 9 w 78"/>
                <a:gd name="T31" fmla="*/ 33 h 71"/>
                <a:gd name="T32" fmla="*/ 15 w 78"/>
                <a:gd name="T33" fmla="*/ 27 h 71"/>
                <a:gd name="T34" fmla="*/ 15 w 78"/>
                <a:gd name="T35" fmla="*/ 17 h 71"/>
                <a:gd name="T36" fmla="*/ 26 w 78"/>
                <a:gd name="T37" fmla="*/ 18 h 71"/>
                <a:gd name="T38" fmla="*/ 32 w 78"/>
                <a:gd name="T39" fmla="*/ 15 h 71"/>
                <a:gd name="T40" fmla="*/ 41 w 78"/>
                <a:gd name="T41" fmla="*/ 20 h 71"/>
                <a:gd name="T42" fmla="*/ 47 w 78"/>
                <a:gd name="T43" fmla="*/ 16 h 71"/>
                <a:gd name="T44" fmla="*/ 52 w 78"/>
                <a:gd name="T45" fmla="*/ 15 h 71"/>
                <a:gd name="T46" fmla="*/ 57 w 78"/>
                <a:gd name="T47" fmla="*/ 8 h 71"/>
                <a:gd name="T48" fmla="*/ 69 w 78"/>
                <a:gd name="T49" fmla="*/ 6 h 71"/>
                <a:gd name="T50" fmla="*/ 75 w 78"/>
                <a:gd name="T51" fmla="*/ 0 h 71"/>
                <a:gd name="T52" fmla="*/ 78 w 78"/>
                <a:gd name="T53" fmla="*/ 1 h 71"/>
                <a:gd name="T54" fmla="*/ 77 w 78"/>
                <a:gd name="T55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1">
                  <a:moveTo>
                    <a:pt x="77" y="27"/>
                  </a:moveTo>
                  <a:cubicBezTo>
                    <a:pt x="74" y="25"/>
                    <a:pt x="73" y="21"/>
                    <a:pt x="73" y="20"/>
                  </a:cubicBezTo>
                  <a:cubicBezTo>
                    <a:pt x="72" y="18"/>
                    <a:pt x="68" y="11"/>
                    <a:pt x="65" y="15"/>
                  </a:cubicBezTo>
                  <a:cubicBezTo>
                    <a:pt x="63" y="19"/>
                    <a:pt x="55" y="24"/>
                    <a:pt x="55" y="29"/>
                  </a:cubicBezTo>
                  <a:cubicBezTo>
                    <a:pt x="55" y="33"/>
                    <a:pt x="53" y="33"/>
                    <a:pt x="50" y="37"/>
                  </a:cubicBezTo>
                  <a:cubicBezTo>
                    <a:pt x="46" y="40"/>
                    <a:pt x="44" y="44"/>
                    <a:pt x="45" y="48"/>
                  </a:cubicBezTo>
                  <a:cubicBezTo>
                    <a:pt x="45" y="51"/>
                    <a:pt x="44" y="54"/>
                    <a:pt x="41" y="57"/>
                  </a:cubicBezTo>
                  <a:cubicBezTo>
                    <a:pt x="37" y="59"/>
                    <a:pt x="26" y="67"/>
                    <a:pt x="23" y="69"/>
                  </a:cubicBezTo>
                  <a:cubicBezTo>
                    <a:pt x="19" y="71"/>
                    <a:pt x="15" y="69"/>
                    <a:pt x="12" y="66"/>
                  </a:cubicBezTo>
                  <a:cubicBezTo>
                    <a:pt x="9" y="63"/>
                    <a:pt x="11" y="59"/>
                    <a:pt x="8" y="59"/>
                  </a:cubicBezTo>
                  <a:cubicBezTo>
                    <a:pt x="4" y="58"/>
                    <a:pt x="1" y="56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37"/>
                    <a:pt x="0" y="37"/>
                  </a:cubicBezTo>
                  <a:cubicBezTo>
                    <a:pt x="0" y="36"/>
                    <a:pt x="3" y="34"/>
                    <a:pt x="3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1"/>
                    <a:pt x="78" y="1"/>
                    <a:pt x="78" y="1"/>
                  </a:cubicBezTo>
                  <a:lnTo>
                    <a:pt x="77" y="2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1" name="Санкт-Петербург г">
              <a:extLst>
                <a:ext uri="{FF2B5EF4-FFF2-40B4-BE49-F238E27FC236}">
                  <a16:creationId xmlns:a16="http://schemas.microsoft.com/office/drawing/2014/main" id="{8FCE999B-5C5B-5FF2-3057-AE8ADFF86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534" y="3149844"/>
              <a:ext cx="79176" cy="70598"/>
            </a:xfrm>
            <a:custGeom>
              <a:avLst/>
              <a:gdLst>
                <a:gd name="T0" fmla="*/ 3 w 15"/>
                <a:gd name="T1" fmla="*/ 1 h 15"/>
                <a:gd name="T2" fmla="*/ 6 w 15"/>
                <a:gd name="T3" fmla="*/ 6 h 15"/>
                <a:gd name="T4" fmla="*/ 9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0 w 15"/>
                <a:gd name="T11" fmla="*/ 7 h 15"/>
                <a:gd name="T12" fmla="*/ 3 w 15"/>
                <a:gd name="T1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3" y="1"/>
                  </a:moveTo>
                  <a:cubicBezTo>
                    <a:pt x="5" y="3"/>
                    <a:pt x="5" y="5"/>
                    <a:pt x="6" y="6"/>
                  </a:cubicBezTo>
                  <a:cubicBezTo>
                    <a:pt x="6" y="7"/>
                    <a:pt x="11" y="4"/>
                    <a:pt x="9" y="0"/>
                  </a:cubicBezTo>
                  <a:cubicBezTo>
                    <a:pt x="12" y="0"/>
                    <a:pt x="15" y="4"/>
                    <a:pt x="15" y="7"/>
                  </a:cubicBezTo>
                  <a:cubicBezTo>
                    <a:pt x="15" y="11"/>
                    <a:pt x="12" y="15"/>
                    <a:pt x="8" y="15"/>
                  </a:cubicBezTo>
                  <a:cubicBezTo>
                    <a:pt x="4" y="15"/>
                    <a:pt x="0" y="11"/>
                    <a:pt x="0" y="7"/>
                  </a:cubicBezTo>
                  <a:cubicBezTo>
                    <a:pt x="0" y="5"/>
                    <a:pt x="2" y="3"/>
                    <a:pt x="3" y="1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2" name="Москва г">
              <a:extLst>
                <a:ext uri="{FF2B5EF4-FFF2-40B4-BE49-F238E27FC236}">
                  <a16:creationId xmlns:a16="http://schemas.microsoft.com/office/drawing/2014/main" id="{15C9230A-56F5-34D5-2E85-835C079F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005" y="3956026"/>
              <a:ext cx="102163" cy="95648"/>
            </a:xfrm>
            <a:custGeom>
              <a:avLst/>
              <a:gdLst>
                <a:gd name="T0" fmla="*/ 2 w 40"/>
                <a:gd name="T1" fmla="*/ 17 h 42"/>
                <a:gd name="T2" fmla="*/ 15 w 40"/>
                <a:gd name="T3" fmla="*/ 17 h 42"/>
                <a:gd name="T4" fmla="*/ 15 w 40"/>
                <a:gd name="T5" fmla="*/ 5 h 42"/>
                <a:gd name="T6" fmla="*/ 27 w 40"/>
                <a:gd name="T7" fmla="*/ 0 h 42"/>
                <a:gd name="T8" fmla="*/ 29 w 40"/>
                <a:gd name="T9" fmla="*/ 13 h 42"/>
                <a:gd name="T10" fmla="*/ 40 w 40"/>
                <a:gd name="T11" fmla="*/ 21 h 42"/>
                <a:gd name="T12" fmla="*/ 31 w 40"/>
                <a:gd name="T13" fmla="*/ 30 h 42"/>
                <a:gd name="T14" fmla="*/ 31 w 40"/>
                <a:gd name="T15" fmla="*/ 42 h 42"/>
                <a:gd name="T16" fmla="*/ 23 w 40"/>
                <a:gd name="T17" fmla="*/ 42 h 42"/>
                <a:gd name="T18" fmla="*/ 17 w 40"/>
                <a:gd name="T19" fmla="*/ 36 h 42"/>
                <a:gd name="T20" fmla="*/ 11 w 40"/>
                <a:gd name="T21" fmla="*/ 42 h 42"/>
                <a:gd name="T22" fmla="*/ 0 w 40"/>
                <a:gd name="T23" fmla="*/ 42 h 42"/>
                <a:gd name="T24" fmla="*/ 2 w 40"/>
                <a:gd name="T25" fmla="*/ 32 h 42"/>
                <a:gd name="T26" fmla="*/ 4 w 40"/>
                <a:gd name="T27" fmla="*/ 25 h 42"/>
                <a:gd name="T28" fmla="*/ 2 w 40"/>
                <a:gd name="T29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2">
                  <a:moveTo>
                    <a:pt x="2" y="17"/>
                  </a:moveTo>
                  <a:lnTo>
                    <a:pt x="15" y="17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29" y="13"/>
                  </a:lnTo>
                  <a:lnTo>
                    <a:pt x="40" y="21"/>
                  </a:lnTo>
                  <a:lnTo>
                    <a:pt x="31" y="30"/>
                  </a:lnTo>
                  <a:lnTo>
                    <a:pt x="31" y="42"/>
                  </a:lnTo>
                  <a:lnTo>
                    <a:pt x="23" y="42"/>
                  </a:lnTo>
                  <a:lnTo>
                    <a:pt x="17" y="36"/>
                  </a:lnTo>
                  <a:lnTo>
                    <a:pt x="11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2" y="17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3" name="Ярославская обл.">
              <a:extLst>
                <a:ext uri="{FF2B5EF4-FFF2-40B4-BE49-F238E27FC236}">
                  <a16:creationId xmlns:a16="http://schemas.microsoft.com/office/drawing/2014/main" id="{116F3390-3D64-FA2F-F0B6-720F1F03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454" y="3723737"/>
              <a:ext cx="372895" cy="275558"/>
            </a:xfrm>
            <a:custGeom>
              <a:avLst/>
              <a:gdLst>
                <a:gd name="T0" fmla="*/ 63 w 146"/>
                <a:gd name="T1" fmla="*/ 0 h 121"/>
                <a:gd name="T2" fmla="*/ 88 w 146"/>
                <a:gd name="T3" fmla="*/ 0 h 121"/>
                <a:gd name="T4" fmla="*/ 111 w 146"/>
                <a:gd name="T5" fmla="*/ 21 h 121"/>
                <a:gd name="T6" fmla="*/ 119 w 146"/>
                <a:gd name="T7" fmla="*/ 15 h 121"/>
                <a:gd name="T8" fmla="*/ 127 w 146"/>
                <a:gd name="T9" fmla="*/ 25 h 121"/>
                <a:gd name="T10" fmla="*/ 127 w 146"/>
                <a:gd name="T11" fmla="*/ 52 h 121"/>
                <a:gd name="T12" fmla="*/ 146 w 146"/>
                <a:gd name="T13" fmla="*/ 71 h 121"/>
                <a:gd name="T14" fmla="*/ 144 w 146"/>
                <a:gd name="T15" fmla="*/ 84 h 121"/>
                <a:gd name="T16" fmla="*/ 129 w 146"/>
                <a:gd name="T17" fmla="*/ 84 h 121"/>
                <a:gd name="T18" fmla="*/ 125 w 146"/>
                <a:gd name="T19" fmla="*/ 94 h 121"/>
                <a:gd name="T20" fmla="*/ 117 w 146"/>
                <a:gd name="T21" fmla="*/ 92 h 121"/>
                <a:gd name="T22" fmla="*/ 102 w 146"/>
                <a:gd name="T23" fmla="*/ 109 h 121"/>
                <a:gd name="T24" fmla="*/ 92 w 146"/>
                <a:gd name="T25" fmla="*/ 109 h 121"/>
                <a:gd name="T26" fmla="*/ 90 w 146"/>
                <a:gd name="T27" fmla="*/ 117 h 121"/>
                <a:gd name="T28" fmla="*/ 75 w 146"/>
                <a:gd name="T29" fmla="*/ 115 h 121"/>
                <a:gd name="T30" fmla="*/ 71 w 146"/>
                <a:gd name="T31" fmla="*/ 109 h 121"/>
                <a:gd name="T32" fmla="*/ 50 w 146"/>
                <a:gd name="T33" fmla="*/ 109 h 121"/>
                <a:gd name="T34" fmla="*/ 40 w 146"/>
                <a:gd name="T35" fmla="*/ 117 h 121"/>
                <a:gd name="T36" fmla="*/ 23 w 146"/>
                <a:gd name="T37" fmla="*/ 121 h 121"/>
                <a:gd name="T38" fmla="*/ 0 w 146"/>
                <a:gd name="T39" fmla="*/ 105 h 121"/>
                <a:gd name="T40" fmla="*/ 2 w 146"/>
                <a:gd name="T41" fmla="*/ 100 h 121"/>
                <a:gd name="T42" fmla="*/ 6 w 146"/>
                <a:gd name="T43" fmla="*/ 86 h 121"/>
                <a:gd name="T44" fmla="*/ 29 w 146"/>
                <a:gd name="T45" fmla="*/ 71 h 121"/>
                <a:gd name="T46" fmla="*/ 23 w 146"/>
                <a:gd name="T47" fmla="*/ 55 h 121"/>
                <a:gd name="T48" fmla="*/ 31 w 146"/>
                <a:gd name="T49" fmla="*/ 48 h 121"/>
                <a:gd name="T50" fmla="*/ 29 w 146"/>
                <a:gd name="T51" fmla="*/ 30 h 121"/>
                <a:gd name="T52" fmla="*/ 40 w 146"/>
                <a:gd name="T53" fmla="*/ 23 h 121"/>
                <a:gd name="T54" fmla="*/ 44 w 146"/>
                <a:gd name="T55" fmla="*/ 23 h 121"/>
                <a:gd name="T56" fmla="*/ 50 w 146"/>
                <a:gd name="T57" fmla="*/ 9 h 121"/>
                <a:gd name="T58" fmla="*/ 63 w 146"/>
                <a:gd name="T5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21">
                  <a:moveTo>
                    <a:pt x="63" y="0"/>
                  </a:moveTo>
                  <a:lnTo>
                    <a:pt x="88" y="0"/>
                  </a:lnTo>
                  <a:lnTo>
                    <a:pt x="111" y="21"/>
                  </a:lnTo>
                  <a:lnTo>
                    <a:pt x="119" y="15"/>
                  </a:lnTo>
                  <a:lnTo>
                    <a:pt x="127" y="25"/>
                  </a:lnTo>
                  <a:lnTo>
                    <a:pt x="127" y="52"/>
                  </a:lnTo>
                  <a:lnTo>
                    <a:pt x="146" y="71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5" y="94"/>
                  </a:lnTo>
                  <a:lnTo>
                    <a:pt x="117" y="92"/>
                  </a:lnTo>
                  <a:lnTo>
                    <a:pt x="102" y="109"/>
                  </a:lnTo>
                  <a:lnTo>
                    <a:pt x="92" y="109"/>
                  </a:lnTo>
                  <a:lnTo>
                    <a:pt x="90" y="117"/>
                  </a:lnTo>
                  <a:lnTo>
                    <a:pt x="75" y="115"/>
                  </a:lnTo>
                  <a:lnTo>
                    <a:pt x="71" y="109"/>
                  </a:lnTo>
                  <a:lnTo>
                    <a:pt x="50" y="109"/>
                  </a:lnTo>
                  <a:lnTo>
                    <a:pt x="40" y="117"/>
                  </a:lnTo>
                  <a:lnTo>
                    <a:pt x="23" y="121"/>
                  </a:lnTo>
                  <a:lnTo>
                    <a:pt x="0" y="105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29" y="71"/>
                  </a:lnTo>
                  <a:lnTo>
                    <a:pt x="23" y="55"/>
                  </a:lnTo>
                  <a:lnTo>
                    <a:pt x="31" y="48"/>
                  </a:lnTo>
                  <a:lnTo>
                    <a:pt x="29" y="30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50" y="9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4" name="Забайкальский край">
              <a:extLst>
                <a:ext uri="{FF2B5EF4-FFF2-40B4-BE49-F238E27FC236}">
                  <a16:creationId xmlns:a16="http://schemas.microsoft.com/office/drawing/2014/main" id="{CB66B458-A73D-6E59-DBE1-FF73E6E78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178" y="4691609"/>
              <a:ext cx="1093145" cy="1434729"/>
            </a:xfrm>
            <a:custGeom>
              <a:avLst/>
              <a:gdLst>
                <a:gd name="T0" fmla="*/ 97 w 205"/>
                <a:gd name="T1" fmla="*/ 4 h 302"/>
                <a:gd name="T2" fmla="*/ 87 w 205"/>
                <a:gd name="T3" fmla="*/ 0 h 302"/>
                <a:gd name="T4" fmla="*/ 81 w 205"/>
                <a:gd name="T5" fmla="*/ 13 h 302"/>
                <a:gd name="T6" fmla="*/ 82 w 205"/>
                <a:gd name="T7" fmla="*/ 19 h 302"/>
                <a:gd name="T8" fmla="*/ 89 w 205"/>
                <a:gd name="T9" fmla="*/ 36 h 302"/>
                <a:gd name="T10" fmla="*/ 98 w 205"/>
                <a:gd name="T11" fmla="*/ 39 h 302"/>
                <a:gd name="T12" fmla="*/ 87 w 205"/>
                <a:gd name="T13" fmla="*/ 55 h 302"/>
                <a:gd name="T14" fmla="*/ 73 w 205"/>
                <a:gd name="T15" fmla="*/ 55 h 302"/>
                <a:gd name="T16" fmla="*/ 67 w 205"/>
                <a:gd name="T17" fmla="*/ 63 h 302"/>
                <a:gd name="T18" fmla="*/ 77 w 205"/>
                <a:gd name="T19" fmla="*/ 77 h 302"/>
                <a:gd name="T20" fmla="*/ 86 w 205"/>
                <a:gd name="T21" fmla="*/ 94 h 302"/>
                <a:gd name="T22" fmla="*/ 97 w 205"/>
                <a:gd name="T23" fmla="*/ 93 h 302"/>
                <a:gd name="T24" fmla="*/ 109 w 205"/>
                <a:gd name="T25" fmla="*/ 114 h 302"/>
                <a:gd name="T26" fmla="*/ 98 w 205"/>
                <a:gd name="T27" fmla="*/ 121 h 302"/>
                <a:gd name="T28" fmla="*/ 76 w 205"/>
                <a:gd name="T29" fmla="*/ 150 h 302"/>
                <a:gd name="T30" fmla="*/ 80 w 205"/>
                <a:gd name="T31" fmla="*/ 167 h 302"/>
                <a:gd name="T32" fmla="*/ 84 w 205"/>
                <a:gd name="T33" fmla="*/ 183 h 302"/>
                <a:gd name="T34" fmla="*/ 54 w 205"/>
                <a:gd name="T35" fmla="*/ 204 h 302"/>
                <a:gd name="T36" fmla="*/ 43 w 205"/>
                <a:gd name="T37" fmla="*/ 222 h 302"/>
                <a:gd name="T38" fmla="*/ 28 w 205"/>
                <a:gd name="T39" fmla="*/ 233 h 302"/>
                <a:gd name="T40" fmla="*/ 3 w 205"/>
                <a:gd name="T41" fmla="*/ 244 h 302"/>
                <a:gd name="T42" fmla="*/ 2 w 205"/>
                <a:gd name="T43" fmla="*/ 258 h 302"/>
                <a:gd name="T44" fmla="*/ 10 w 205"/>
                <a:gd name="T45" fmla="*/ 273 h 302"/>
                <a:gd name="T46" fmla="*/ 0 w 205"/>
                <a:gd name="T47" fmla="*/ 288 h 302"/>
                <a:gd name="T48" fmla="*/ 10 w 205"/>
                <a:gd name="T49" fmla="*/ 299 h 302"/>
                <a:gd name="T50" fmla="*/ 34 w 205"/>
                <a:gd name="T51" fmla="*/ 299 h 302"/>
                <a:gd name="T52" fmla="*/ 55 w 205"/>
                <a:gd name="T53" fmla="*/ 295 h 302"/>
                <a:gd name="T54" fmla="*/ 89 w 205"/>
                <a:gd name="T55" fmla="*/ 274 h 302"/>
                <a:gd name="T56" fmla="*/ 104 w 205"/>
                <a:gd name="T57" fmla="*/ 253 h 302"/>
                <a:gd name="T58" fmla="*/ 131 w 205"/>
                <a:gd name="T59" fmla="*/ 244 h 302"/>
                <a:gd name="T60" fmla="*/ 155 w 205"/>
                <a:gd name="T61" fmla="*/ 237 h 302"/>
                <a:gd name="T62" fmla="*/ 178 w 205"/>
                <a:gd name="T63" fmla="*/ 239 h 302"/>
                <a:gd name="T64" fmla="*/ 198 w 205"/>
                <a:gd name="T65" fmla="*/ 218 h 302"/>
                <a:gd name="T66" fmla="*/ 196 w 205"/>
                <a:gd name="T67" fmla="*/ 199 h 302"/>
                <a:gd name="T68" fmla="*/ 197 w 205"/>
                <a:gd name="T69" fmla="*/ 176 h 302"/>
                <a:gd name="T70" fmla="*/ 199 w 205"/>
                <a:gd name="T71" fmla="*/ 145 h 302"/>
                <a:gd name="T72" fmla="*/ 187 w 205"/>
                <a:gd name="T73" fmla="*/ 141 h 302"/>
                <a:gd name="T74" fmla="*/ 186 w 205"/>
                <a:gd name="T75" fmla="*/ 120 h 302"/>
                <a:gd name="T76" fmla="*/ 205 w 205"/>
                <a:gd name="T77" fmla="*/ 104 h 302"/>
                <a:gd name="T78" fmla="*/ 193 w 205"/>
                <a:gd name="T79" fmla="*/ 93 h 302"/>
                <a:gd name="T80" fmla="*/ 193 w 205"/>
                <a:gd name="T81" fmla="*/ 81 h 302"/>
                <a:gd name="T82" fmla="*/ 183 w 205"/>
                <a:gd name="T83" fmla="*/ 73 h 302"/>
                <a:gd name="T84" fmla="*/ 178 w 205"/>
                <a:gd name="T85" fmla="*/ 54 h 302"/>
                <a:gd name="T86" fmla="*/ 170 w 205"/>
                <a:gd name="T87" fmla="*/ 55 h 302"/>
                <a:gd name="T88" fmla="*/ 164 w 205"/>
                <a:gd name="T89" fmla="*/ 48 h 302"/>
                <a:gd name="T90" fmla="*/ 152 w 205"/>
                <a:gd name="T91" fmla="*/ 51 h 302"/>
                <a:gd name="T92" fmla="*/ 143 w 205"/>
                <a:gd name="T93" fmla="*/ 49 h 302"/>
                <a:gd name="T94" fmla="*/ 145 w 205"/>
                <a:gd name="T95" fmla="*/ 39 h 302"/>
                <a:gd name="T96" fmla="*/ 134 w 205"/>
                <a:gd name="T97" fmla="*/ 38 h 302"/>
                <a:gd name="T98" fmla="*/ 129 w 205"/>
                <a:gd name="T99" fmla="*/ 31 h 302"/>
                <a:gd name="T100" fmla="*/ 125 w 205"/>
                <a:gd name="T101" fmla="*/ 24 h 302"/>
                <a:gd name="T102" fmla="*/ 114 w 205"/>
                <a:gd name="T103" fmla="*/ 14 h 302"/>
                <a:gd name="T104" fmla="*/ 106 w 205"/>
                <a:gd name="T105" fmla="*/ 5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302">
                  <a:moveTo>
                    <a:pt x="103" y="2"/>
                  </a:moveTo>
                  <a:cubicBezTo>
                    <a:pt x="97" y="4"/>
                    <a:pt x="97" y="4"/>
                    <a:pt x="97" y="4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2" y="214"/>
                    <a:pt x="52" y="214"/>
                    <a:pt x="52" y="214"/>
                  </a:cubicBezTo>
                  <a:cubicBezTo>
                    <a:pt x="43" y="222"/>
                    <a:pt x="43" y="222"/>
                    <a:pt x="43" y="222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14" y="244"/>
                    <a:pt x="14" y="244"/>
                    <a:pt x="14" y="244"/>
                  </a:cubicBezTo>
                  <a:cubicBezTo>
                    <a:pt x="3" y="244"/>
                    <a:pt x="3" y="244"/>
                    <a:pt x="3" y="244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3" y="273"/>
                    <a:pt x="3" y="273"/>
                    <a:pt x="3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" y="288"/>
                    <a:pt x="1" y="289"/>
                    <a:pt x="1" y="290"/>
                  </a:cubicBezTo>
                  <a:cubicBezTo>
                    <a:pt x="1" y="295"/>
                    <a:pt x="7" y="296"/>
                    <a:pt x="10" y="299"/>
                  </a:cubicBezTo>
                  <a:cubicBezTo>
                    <a:pt x="13" y="302"/>
                    <a:pt x="20" y="302"/>
                    <a:pt x="24" y="300"/>
                  </a:cubicBezTo>
                  <a:cubicBezTo>
                    <a:pt x="27" y="298"/>
                    <a:pt x="30" y="296"/>
                    <a:pt x="34" y="299"/>
                  </a:cubicBezTo>
                  <a:cubicBezTo>
                    <a:pt x="37" y="301"/>
                    <a:pt x="41" y="299"/>
                    <a:pt x="45" y="298"/>
                  </a:cubicBezTo>
                  <a:cubicBezTo>
                    <a:pt x="49" y="298"/>
                    <a:pt x="52" y="294"/>
                    <a:pt x="55" y="295"/>
                  </a:cubicBezTo>
                  <a:cubicBezTo>
                    <a:pt x="58" y="297"/>
                    <a:pt x="62" y="292"/>
                    <a:pt x="64" y="289"/>
                  </a:cubicBezTo>
                  <a:cubicBezTo>
                    <a:pt x="66" y="286"/>
                    <a:pt x="82" y="274"/>
                    <a:pt x="89" y="274"/>
                  </a:cubicBezTo>
                  <a:cubicBezTo>
                    <a:pt x="95" y="274"/>
                    <a:pt x="96" y="271"/>
                    <a:pt x="97" y="265"/>
                  </a:cubicBezTo>
                  <a:cubicBezTo>
                    <a:pt x="98" y="259"/>
                    <a:pt x="101" y="258"/>
                    <a:pt x="104" y="253"/>
                  </a:cubicBezTo>
                  <a:cubicBezTo>
                    <a:pt x="107" y="248"/>
                    <a:pt x="112" y="242"/>
                    <a:pt x="116" y="242"/>
                  </a:cubicBezTo>
                  <a:cubicBezTo>
                    <a:pt x="120" y="242"/>
                    <a:pt x="127" y="240"/>
                    <a:pt x="131" y="244"/>
                  </a:cubicBezTo>
                  <a:cubicBezTo>
                    <a:pt x="134" y="247"/>
                    <a:pt x="142" y="242"/>
                    <a:pt x="145" y="239"/>
                  </a:cubicBezTo>
                  <a:cubicBezTo>
                    <a:pt x="149" y="236"/>
                    <a:pt x="154" y="235"/>
                    <a:pt x="155" y="237"/>
                  </a:cubicBezTo>
                  <a:cubicBezTo>
                    <a:pt x="157" y="239"/>
                    <a:pt x="160" y="239"/>
                    <a:pt x="164" y="239"/>
                  </a:cubicBezTo>
                  <a:cubicBezTo>
                    <a:pt x="168" y="239"/>
                    <a:pt x="173" y="240"/>
                    <a:pt x="178" y="239"/>
                  </a:cubicBezTo>
                  <a:cubicBezTo>
                    <a:pt x="182" y="239"/>
                    <a:pt x="187" y="235"/>
                    <a:pt x="188" y="231"/>
                  </a:cubicBezTo>
                  <a:cubicBezTo>
                    <a:pt x="189" y="227"/>
                    <a:pt x="193" y="220"/>
                    <a:pt x="198" y="218"/>
                  </a:cubicBezTo>
                  <a:cubicBezTo>
                    <a:pt x="202" y="216"/>
                    <a:pt x="204" y="212"/>
                    <a:pt x="201" y="209"/>
                  </a:cubicBezTo>
                  <a:cubicBezTo>
                    <a:pt x="198" y="205"/>
                    <a:pt x="195" y="202"/>
                    <a:pt x="196" y="199"/>
                  </a:cubicBezTo>
                  <a:cubicBezTo>
                    <a:pt x="197" y="196"/>
                    <a:pt x="197" y="193"/>
                    <a:pt x="197" y="190"/>
                  </a:cubicBezTo>
                  <a:cubicBezTo>
                    <a:pt x="196" y="186"/>
                    <a:pt x="197" y="181"/>
                    <a:pt x="197" y="176"/>
                  </a:cubicBezTo>
                  <a:cubicBezTo>
                    <a:pt x="197" y="170"/>
                    <a:pt x="196" y="166"/>
                    <a:pt x="198" y="163"/>
                  </a:cubicBezTo>
                  <a:cubicBezTo>
                    <a:pt x="200" y="159"/>
                    <a:pt x="202" y="149"/>
                    <a:pt x="199" y="145"/>
                  </a:cubicBezTo>
                  <a:cubicBezTo>
                    <a:pt x="196" y="142"/>
                    <a:pt x="199" y="139"/>
                    <a:pt x="195" y="137"/>
                  </a:cubicBezTo>
                  <a:cubicBezTo>
                    <a:pt x="192" y="135"/>
                    <a:pt x="189" y="139"/>
                    <a:pt x="187" y="141"/>
                  </a:cubicBezTo>
                  <a:cubicBezTo>
                    <a:pt x="184" y="143"/>
                    <a:pt x="180" y="143"/>
                    <a:pt x="182" y="137"/>
                  </a:cubicBezTo>
                  <a:cubicBezTo>
                    <a:pt x="183" y="130"/>
                    <a:pt x="186" y="123"/>
                    <a:pt x="186" y="120"/>
                  </a:cubicBezTo>
                  <a:cubicBezTo>
                    <a:pt x="186" y="117"/>
                    <a:pt x="198" y="111"/>
                    <a:pt x="202" y="107"/>
                  </a:cubicBezTo>
                  <a:cubicBezTo>
                    <a:pt x="203" y="105"/>
                    <a:pt x="204" y="104"/>
                    <a:pt x="205" y="104"/>
                  </a:cubicBezTo>
                  <a:cubicBezTo>
                    <a:pt x="200" y="95"/>
                    <a:pt x="200" y="95"/>
                    <a:pt x="200" y="95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3" y="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5" name="Челябинская обл.">
              <a:extLst>
                <a:ext uri="{FF2B5EF4-FFF2-40B4-BE49-F238E27FC236}">
                  <a16:creationId xmlns:a16="http://schemas.microsoft.com/office/drawing/2014/main" id="{60B06493-34FD-23F9-24B6-76F2B3F1A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7895" y="4873797"/>
              <a:ext cx="554234" cy="573892"/>
            </a:xfrm>
            <a:custGeom>
              <a:avLst/>
              <a:gdLst>
                <a:gd name="T0" fmla="*/ 89 w 104"/>
                <a:gd name="T1" fmla="*/ 83 h 121"/>
                <a:gd name="T2" fmla="*/ 64 w 104"/>
                <a:gd name="T3" fmla="*/ 75 h 121"/>
                <a:gd name="T4" fmla="*/ 59 w 104"/>
                <a:gd name="T5" fmla="*/ 88 h 121"/>
                <a:gd name="T6" fmla="*/ 66 w 104"/>
                <a:gd name="T7" fmla="*/ 102 h 121"/>
                <a:gd name="T8" fmla="*/ 54 w 104"/>
                <a:gd name="T9" fmla="*/ 102 h 121"/>
                <a:gd name="T10" fmla="*/ 42 w 104"/>
                <a:gd name="T11" fmla="*/ 118 h 121"/>
                <a:gd name="T12" fmla="*/ 22 w 104"/>
                <a:gd name="T13" fmla="*/ 120 h 121"/>
                <a:gd name="T14" fmla="*/ 22 w 104"/>
                <a:gd name="T15" fmla="*/ 116 h 121"/>
                <a:gd name="T16" fmla="*/ 23 w 104"/>
                <a:gd name="T17" fmla="*/ 106 h 121"/>
                <a:gd name="T18" fmla="*/ 10 w 104"/>
                <a:gd name="T19" fmla="*/ 106 h 121"/>
                <a:gd name="T20" fmla="*/ 4 w 104"/>
                <a:gd name="T21" fmla="*/ 99 h 121"/>
                <a:gd name="T22" fmla="*/ 12 w 104"/>
                <a:gd name="T23" fmla="*/ 85 h 121"/>
                <a:gd name="T24" fmla="*/ 15 w 104"/>
                <a:gd name="T25" fmla="*/ 81 h 121"/>
                <a:gd name="T26" fmla="*/ 21 w 104"/>
                <a:gd name="T27" fmla="*/ 68 h 121"/>
                <a:gd name="T28" fmla="*/ 31 w 104"/>
                <a:gd name="T29" fmla="*/ 58 h 121"/>
                <a:gd name="T30" fmla="*/ 39 w 104"/>
                <a:gd name="T31" fmla="*/ 61 h 121"/>
                <a:gd name="T32" fmla="*/ 45 w 104"/>
                <a:gd name="T33" fmla="*/ 56 h 121"/>
                <a:gd name="T34" fmla="*/ 40 w 104"/>
                <a:gd name="T35" fmla="*/ 46 h 121"/>
                <a:gd name="T36" fmla="*/ 31 w 104"/>
                <a:gd name="T37" fmla="*/ 47 h 121"/>
                <a:gd name="T38" fmla="*/ 20 w 104"/>
                <a:gd name="T39" fmla="*/ 45 h 121"/>
                <a:gd name="T40" fmla="*/ 16 w 104"/>
                <a:gd name="T41" fmla="*/ 31 h 121"/>
                <a:gd name="T42" fmla="*/ 16 w 104"/>
                <a:gd name="T43" fmla="*/ 17 h 121"/>
                <a:gd name="T44" fmla="*/ 28 w 104"/>
                <a:gd name="T45" fmla="*/ 19 h 121"/>
                <a:gd name="T46" fmla="*/ 34 w 104"/>
                <a:gd name="T47" fmla="*/ 29 h 121"/>
                <a:gd name="T48" fmla="*/ 44 w 104"/>
                <a:gd name="T49" fmla="*/ 26 h 121"/>
                <a:gd name="T50" fmla="*/ 54 w 104"/>
                <a:gd name="T51" fmla="*/ 18 h 121"/>
                <a:gd name="T52" fmla="*/ 58 w 104"/>
                <a:gd name="T53" fmla="*/ 1 h 121"/>
                <a:gd name="T54" fmla="*/ 68 w 104"/>
                <a:gd name="T55" fmla="*/ 6 h 121"/>
                <a:gd name="T56" fmla="*/ 87 w 104"/>
                <a:gd name="T57" fmla="*/ 17 h 121"/>
                <a:gd name="T58" fmla="*/ 103 w 104"/>
                <a:gd name="T59" fmla="*/ 23 h 121"/>
                <a:gd name="T60" fmla="*/ 102 w 104"/>
                <a:gd name="T61" fmla="*/ 44 h 121"/>
                <a:gd name="T62" fmla="*/ 91 w 104"/>
                <a:gd name="T63" fmla="*/ 49 h 121"/>
                <a:gd name="T64" fmla="*/ 89 w 104"/>
                <a:gd name="T65" fmla="*/ 58 h 121"/>
                <a:gd name="T66" fmla="*/ 86 w 104"/>
                <a:gd name="T67" fmla="*/ 65 h 121"/>
                <a:gd name="T68" fmla="*/ 99 w 104"/>
                <a:gd name="T69" fmla="*/ 69 h 121"/>
                <a:gd name="T70" fmla="*/ 99 w 104"/>
                <a:gd name="T71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121">
                  <a:moveTo>
                    <a:pt x="99" y="83"/>
                  </a:moveTo>
                  <a:cubicBezTo>
                    <a:pt x="95" y="83"/>
                    <a:pt x="92" y="83"/>
                    <a:pt x="89" y="83"/>
                  </a:cubicBezTo>
                  <a:cubicBezTo>
                    <a:pt x="85" y="83"/>
                    <a:pt x="84" y="83"/>
                    <a:pt x="79" y="80"/>
                  </a:cubicBezTo>
                  <a:cubicBezTo>
                    <a:pt x="75" y="76"/>
                    <a:pt x="65" y="74"/>
                    <a:pt x="64" y="75"/>
                  </a:cubicBezTo>
                  <a:cubicBezTo>
                    <a:pt x="63" y="76"/>
                    <a:pt x="62" y="78"/>
                    <a:pt x="59" y="81"/>
                  </a:cubicBezTo>
                  <a:cubicBezTo>
                    <a:pt x="56" y="85"/>
                    <a:pt x="58" y="86"/>
                    <a:pt x="59" y="88"/>
                  </a:cubicBezTo>
                  <a:cubicBezTo>
                    <a:pt x="60" y="90"/>
                    <a:pt x="58" y="90"/>
                    <a:pt x="56" y="93"/>
                  </a:cubicBezTo>
                  <a:cubicBezTo>
                    <a:pt x="54" y="95"/>
                    <a:pt x="59" y="97"/>
                    <a:pt x="66" y="102"/>
                  </a:cubicBezTo>
                  <a:cubicBezTo>
                    <a:pt x="73" y="108"/>
                    <a:pt x="68" y="108"/>
                    <a:pt x="65" y="109"/>
                  </a:cubicBezTo>
                  <a:cubicBezTo>
                    <a:pt x="62" y="110"/>
                    <a:pt x="57" y="105"/>
                    <a:pt x="54" y="102"/>
                  </a:cubicBezTo>
                  <a:cubicBezTo>
                    <a:pt x="51" y="99"/>
                    <a:pt x="47" y="103"/>
                    <a:pt x="43" y="105"/>
                  </a:cubicBezTo>
                  <a:cubicBezTo>
                    <a:pt x="39" y="108"/>
                    <a:pt x="41" y="115"/>
                    <a:pt x="42" y="118"/>
                  </a:cubicBezTo>
                  <a:cubicBezTo>
                    <a:pt x="42" y="121"/>
                    <a:pt x="41" y="120"/>
                    <a:pt x="35" y="120"/>
                  </a:cubicBezTo>
                  <a:cubicBezTo>
                    <a:pt x="30" y="120"/>
                    <a:pt x="25" y="118"/>
                    <a:pt x="22" y="120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5" y="110"/>
                    <a:pt x="25" y="110"/>
                    <a:pt x="25" y="110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4" y="100"/>
                    <a:pt x="4" y="99"/>
                  </a:cubicBezTo>
                  <a:cubicBezTo>
                    <a:pt x="5" y="99"/>
                    <a:pt x="9" y="93"/>
                    <a:pt x="9" y="93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4" y="18"/>
                    <a:pt x="54" y="18"/>
                  </a:cubicBezTo>
                  <a:cubicBezTo>
                    <a:pt x="55" y="17"/>
                    <a:pt x="58" y="11"/>
                    <a:pt x="58" y="1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103" y="76"/>
                    <a:pt x="103" y="76"/>
                    <a:pt x="103" y="76"/>
                  </a:cubicBezTo>
                  <a:lnTo>
                    <a:pt x="99" y="8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6" name="Ульяновская обл.">
              <a:extLst>
                <a:ext uri="{FF2B5EF4-FFF2-40B4-BE49-F238E27FC236}">
                  <a16:creationId xmlns:a16="http://schemas.microsoft.com/office/drawing/2014/main" id="{2B4EDD33-D74F-49B0-1544-A93C2789F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213" y="4573187"/>
              <a:ext cx="408653" cy="300610"/>
            </a:xfrm>
            <a:custGeom>
              <a:avLst/>
              <a:gdLst>
                <a:gd name="T0" fmla="*/ 7 w 77"/>
                <a:gd name="T1" fmla="*/ 9 h 63"/>
                <a:gd name="T2" fmla="*/ 12 w 77"/>
                <a:gd name="T3" fmla="*/ 4 h 63"/>
                <a:gd name="T4" fmla="*/ 18 w 77"/>
                <a:gd name="T5" fmla="*/ 9 h 63"/>
                <a:gd name="T6" fmla="*/ 28 w 77"/>
                <a:gd name="T7" fmla="*/ 8 h 63"/>
                <a:gd name="T8" fmla="*/ 27 w 77"/>
                <a:gd name="T9" fmla="*/ 2 h 63"/>
                <a:gd name="T10" fmla="*/ 30 w 77"/>
                <a:gd name="T11" fmla="*/ 0 h 63"/>
                <a:gd name="T12" fmla="*/ 39 w 77"/>
                <a:gd name="T13" fmla="*/ 6 h 63"/>
                <a:gd name="T14" fmla="*/ 39 w 77"/>
                <a:gd name="T15" fmla="*/ 11 h 63"/>
                <a:gd name="T16" fmla="*/ 45 w 77"/>
                <a:gd name="T17" fmla="*/ 10 h 63"/>
                <a:gd name="T18" fmla="*/ 49 w 77"/>
                <a:gd name="T19" fmla="*/ 11 h 63"/>
                <a:gd name="T20" fmla="*/ 61 w 77"/>
                <a:gd name="T21" fmla="*/ 22 h 63"/>
                <a:gd name="T22" fmla="*/ 64 w 77"/>
                <a:gd name="T23" fmla="*/ 21 h 63"/>
                <a:gd name="T24" fmla="*/ 67 w 77"/>
                <a:gd name="T25" fmla="*/ 19 h 63"/>
                <a:gd name="T26" fmla="*/ 70 w 77"/>
                <a:gd name="T27" fmla="*/ 24 h 63"/>
                <a:gd name="T28" fmla="*/ 71 w 77"/>
                <a:gd name="T29" fmla="*/ 30 h 63"/>
                <a:gd name="T30" fmla="*/ 77 w 77"/>
                <a:gd name="T31" fmla="*/ 37 h 63"/>
                <a:gd name="T32" fmla="*/ 77 w 77"/>
                <a:gd name="T33" fmla="*/ 40 h 63"/>
                <a:gd name="T34" fmla="*/ 77 w 77"/>
                <a:gd name="T35" fmla="*/ 39 h 63"/>
                <a:gd name="T36" fmla="*/ 72 w 77"/>
                <a:gd name="T37" fmla="*/ 47 h 63"/>
                <a:gd name="T38" fmla="*/ 63 w 77"/>
                <a:gd name="T39" fmla="*/ 53 h 63"/>
                <a:gd name="T40" fmla="*/ 58 w 77"/>
                <a:gd name="T41" fmla="*/ 45 h 63"/>
                <a:gd name="T42" fmla="*/ 52 w 77"/>
                <a:gd name="T43" fmla="*/ 42 h 63"/>
                <a:gd name="T44" fmla="*/ 46 w 77"/>
                <a:gd name="T45" fmla="*/ 45 h 63"/>
                <a:gd name="T46" fmla="*/ 42 w 77"/>
                <a:gd name="T47" fmla="*/ 39 h 63"/>
                <a:gd name="T48" fmla="*/ 35 w 77"/>
                <a:gd name="T49" fmla="*/ 43 h 63"/>
                <a:gd name="T50" fmla="*/ 29 w 77"/>
                <a:gd name="T51" fmla="*/ 44 h 63"/>
                <a:gd name="T52" fmla="*/ 26 w 77"/>
                <a:gd name="T53" fmla="*/ 50 h 63"/>
                <a:gd name="T54" fmla="*/ 29 w 77"/>
                <a:gd name="T55" fmla="*/ 56 h 63"/>
                <a:gd name="T56" fmla="*/ 30 w 77"/>
                <a:gd name="T57" fmla="*/ 61 h 63"/>
                <a:gd name="T58" fmla="*/ 22 w 77"/>
                <a:gd name="T59" fmla="*/ 63 h 63"/>
                <a:gd name="T60" fmla="*/ 19 w 77"/>
                <a:gd name="T61" fmla="*/ 60 h 63"/>
                <a:gd name="T62" fmla="*/ 7 w 77"/>
                <a:gd name="T63" fmla="*/ 60 h 63"/>
                <a:gd name="T64" fmla="*/ 0 w 77"/>
                <a:gd name="T65" fmla="*/ 49 h 63"/>
                <a:gd name="T66" fmla="*/ 0 w 77"/>
                <a:gd name="T67" fmla="*/ 49 h 63"/>
                <a:gd name="T68" fmla="*/ 9 w 77"/>
                <a:gd name="T69" fmla="*/ 38 h 63"/>
                <a:gd name="T70" fmla="*/ 12 w 77"/>
                <a:gd name="T71" fmla="*/ 32 h 63"/>
                <a:gd name="T72" fmla="*/ 8 w 77"/>
                <a:gd name="T73" fmla="*/ 29 h 63"/>
                <a:gd name="T74" fmla="*/ 10 w 77"/>
                <a:gd name="T75" fmla="*/ 23 h 63"/>
                <a:gd name="T76" fmla="*/ 12 w 77"/>
                <a:gd name="T77" fmla="*/ 17 h 63"/>
                <a:gd name="T78" fmla="*/ 10 w 77"/>
                <a:gd name="T79" fmla="*/ 10 h 63"/>
                <a:gd name="T80" fmla="*/ 7 w 77"/>
                <a:gd name="T81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63">
                  <a:moveTo>
                    <a:pt x="7" y="9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6" y="49"/>
                    <a:pt x="26" y="50"/>
                  </a:cubicBezTo>
                  <a:cubicBezTo>
                    <a:pt x="26" y="51"/>
                    <a:pt x="29" y="56"/>
                    <a:pt x="29" y="5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2" y="17"/>
                    <a:pt x="12" y="17"/>
                  </a:cubicBezTo>
                  <a:cubicBezTo>
                    <a:pt x="12" y="16"/>
                    <a:pt x="10" y="10"/>
                    <a:pt x="10" y="10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7" name="Тюменская обл.">
              <a:extLst>
                <a:ext uri="{FF2B5EF4-FFF2-40B4-BE49-F238E27FC236}">
                  <a16:creationId xmlns:a16="http://schemas.microsoft.com/office/drawing/2014/main" id="{542A2816-D8B9-A631-29FC-5BCE60D8B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105" y="4668835"/>
              <a:ext cx="904143" cy="660431"/>
            </a:xfrm>
            <a:custGeom>
              <a:avLst/>
              <a:gdLst>
                <a:gd name="T0" fmla="*/ 159 w 170"/>
                <a:gd name="T1" fmla="*/ 70 h 139"/>
                <a:gd name="T2" fmla="*/ 139 w 170"/>
                <a:gd name="T3" fmla="*/ 65 h 139"/>
                <a:gd name="T4" fmla="*/ 132 w 170"/>
                <a:gd name="T5" fmla="*/ 70 h 139"/>
                <a:gd name="T6" fmla="*/ 117 w 170"/>
                <a:gd name="T7" fmla="*/ 63 h 139"/>
                <a:gd name="T8" fmla="*/ 110 w 170"/>
                <a:gd name="T9" fmla="*/ 58 h 139"/>
                <a:gd name="T10" fmla="*/ 106 w 170"/>
                <a:gd name="T11" fmla="*/ 50 h 139"/>
                <a:gd name="T12" fmla="*/ 97 w 170"/>
                <a:gd name="T13" fmla="*/ 67 h 139"/>
                <a:gd name="T14" fmla="*/ 94 w 170"/>
                <a:gd name="T15" fmla="*/ 77 h 139"/>
                <a:gd name="T16" fmla="*/ 101 w 170"/>
                <a:gd name="T17" fmla="*/ 84 h 139"/>
                <a:gd name="T18" fmla="*/ 109 w 170"/>
                <a:gd name="T19" fmla="*/ 95 h 139"/>
                <a:gd name="T20" fmla="*/ 102 w 170"/>
                <a:gd name="T21" fmla="*/ 100 h 139"/>
                <a:gd name="T22" fmla="*/ 90 w 170"/>
                <a:gd name="T23" fmla="*/ 107 h 139"/>
                <a:gd name="T24" fmla="*/ 88 w 170"/>
                <a:gd name="T25" fmla="*/ 119 h 139"/>
                <a:gd name="T26" fmla="*/ 81 w 170"/>
                <a:gd name="T27" fmla="*/ 128 h 139"/>
                <a:gd name="T28" fmla="*/ 77 w 170"/>
                <a:gd name="T29" fmla="*/ 136 h 139"/>
                <a:gd name="T30" fmla="*/ 66 w 170"/>
                <a:gd name="T31" fmla="*/ 133 h 139"/>
                <a:gd name="T32" fmla="*/ 44 w 170"/>
                <a:gd name="T33" fmla="*/ 127 h 139"/>
                <a:gd name="T34" fmla="*/ 32 w 170"/>
                <a:gd name="T35" fmla="*/ 112 h 139"/>
                <a:gd name="T36" fmla="*/ 26 w 170"/>
                <a:gd name="T37" fmla="*/ 98 h 139"/>
                <a:gd name="T38" fmla="*/ 10 w 170"/>
                <a:gd name="T39" fmla="*/ 93 h 139"/>
                <a:gd name="T40" fmla="*/ 0 w 170"/>
                <a:gd name="T41" fmla="*/ 75 h 139"/>
                <a:gd name="T42" fmla="*/ 7 w 170"/>
                <a:gd name="T43" fmla="*/ 59 h 139"/>
                <a:gd name="T44" fmla="*/ 9 w 170"/>
                <a:gd name="T45" fmla="*/ 47 h 139"/>
                <a:gd name="T46" fmla="*/ 20 w 170"/>
                <a:gd name="T47" fmla="*/ 44 h 139"/>
                <a:gd name="T48" fmla="*/ 28 w 170"/>
                <a:gd name="T49" fmla="*/ 43 h 139"/>
                <a:gd name="T50" fmla="*/ 33 w 170"/>
                <a:gd name="T51" fmla="*/ 33 h 139"/>
                <a:gd name="T52" fmla="*/ 41 w 170"/>
                <a:gd name="T53" fmla="*/ 24 h 139"/>
                <a:gd name="T54" fmla="*/ 54 w 170"/>
                <a:gd name="T55" fmla="*/ 17 h 139"/>
                <a:gd name="T56" fmla="*/ 64 w 170"/>
                <a:gd name="T57" fmla="*/ 19 h 139"/>
                <a:gd name="T58" fmla="*/ 80 w 170"/>
                <a:gd name="T59" fmla="*/ 15 h 139"/>
                <a:gd name="T60" fmla="*/ 95 w 170"/>
                <a:gd name="T61" fmla="*/ 8 h 139"/>
                <a:gd name="T62" fmla="*/ 101 w 170"/>
                <a:gd name="T63" fmla="*/ 1 h 139"/>
                <a:gd name="T64" fmla="*/ 121 w 170"/>
                <a:gd name="T65" fmla="*/ 11 h 139"/>
                <a:gd name="T66" fmla="*/ 137 w 170"/>
                <a:gd name="T67" fmla="*/ 32 h 139"/>
                <a:gd name="T68" fmla="*/ 145 w 170"/>
                <a:gd name="T69" fmla="*/ 39 h 139"/>
                <a:gd name="T70" fmla="*/ 156 w 170"/>
                <a:gd name="T71" fmla="*/ 52 h 139"/>
                <a:gd name="T72" fmla="*/ 170 w 170"/>
                <a:gd name="T73" fmla="*/ 5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39">
                  <a:moveTo>
                    <a:pt x="170" y="61"/>
                  </a:moveTo>
                  <a:cubicBezTo>
                    <a:pt x="159" y="70"/>
                    <a:pt x="159" y="70"/>
                    <a:pt x="159" y="7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5" y="136"/>
                    <a:pt x="74" y="136"/>
                    <a:pt x="72" y="137"/>
                  </a:cubicBezTo>
                  <a:cubicBezTo>
                    <a:pt x="69" y="139"/>
                    <a:pt x="67" y="136"/>
                    <a:pt x="66" y="133"/>
                  </a:cubicBezTo>
                  <a:cubicBezTo>
                    <a:pt x="65" y="131"/>
                    <a:pt x="58" y="124"/>
                    <a:pt x="52" y="124"/>
                  </a:cubicBezTo>
                  <a:cubicBezTo>
                    <a:pt x="48" y="124"/>
                    <a:pt x="47" y="127"/>
                    <a:pt x="44" y="12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63" y="54"/>
                    <a:pt x="163" y="54"/>
                    <a:pt x="163" y="54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0" y="6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8" name="Тульская обл.">
              <a:extLst>
                <a:ext uri="{FF2B5EF4-FFF2-40B4-BE49-F238E27FC236}">
                  <a16:creationId xmlns:a16="http://schemas.microsoft.com/office/drawing/2014/main" id="{663E2D30-A113-91A5-32FD-4C3AC33F1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0949" y="4081281"/>
              <a:ext cx="265624" cy="255063"/>
            </a:xfrm>
            <a:custGeom>
              <a:avLst/>
              <a:gdLst>
                <a:gd name="T0" fmla="*/ 0 w 104"/>
                <a:gd name="T1" fmla="*/ 23 h 112"/>
                <a:gd name="T2" fmla="*/ 10 w 104"/>
                <a:gd name="T3" fmla="*/ 10 h 112"/>
                <a:gd name="T4" fmla="*/ 23 w 104"/>
                <a:gd name="T5" fmla="*/ 12 h 112"/>
                <a:gd name="T6" fmla="*/ 27 w 104"/>
                <a:gd name="T7" fmla="*/ 4 h 112"/>
                <a:gd name="T8" fmla="*/ 37 w 104"/>
                <a:gd name="T9" fmla="*/ 2 h 112"/>
                <a:gd name="T10" fmla="*/ 54 w 104"/>
                <a:gd name="T11" fmla="*/ 14 h 112"/>
                <a:gd name="T12" fmla="*/ 60 w 104"/>
                <a:gd name="T13" fmla="*/ 14 h 112"/>
                <a:gd name="T14" fmla="*/ 60 w 104"/>
                <a:gd name="T15" fmla="*/ 2 h 112"/>
                <a:gd name="T16" fmla="*/ 68 w 104"/>
                <a:gd name="T17" fmla="*/ 0 h 112"/>
                <a:gd name="T18" fmla="*/ 79 w 104"/>
                <a:gd name="T19" fmla="*/ 10 h 112"/>
                <a:gd name="T20" fmla="*/ 83 w 104"/>
                <a:gd name="T21" fmla="*/ 4 h 112"/>
                <a:gd name="T22" fmla="*/ 91 w 104"/>
                <a:gd name="T23" fmla="*/ 10 h 112"/>
                <a:gd name="T24" fmla="*/ 104 w 104"/>
                <a:gd name="T25" fmla="*/ 14 h 112"/>
                <a:gd name="T26" fmla="*/ 100 w 104"/>
                <a:gd name="T27" fmla="*/ 35 h 112"/>
                <a:gd name="T28" fmla="*/ 100 w 104"/>
                <a:gd name="T29" fmla="*/ 48 h 112"/>
                <a:gd name="T30" fmla="*/ 102 w 104"/>
                <a:gd name="T31" fmla="*/ 62 h 112"/>
                <a:gd name="T32" fmla="*/ 96 w 104"/>
                <a:gd name="T33" fmla="*/ 66 h 112"/>
                <a:gd name="T34" fmla="*/ 96 w 104"/>
                <a:gd name="T35" fmla="*/ 79 h 112"/>
                <a:gd name="T36" fmla="*/ 81 w 104"/>
                <a:gd name="T37" fmla="*/ 89 h 112"/>
                <a:gd name="T38" fmla="*/ 77 w 104"/>
                <a:gd name="T39" fmla="*/ 96 h 112"/>
                <a:gd name="T40" fmla="*/ 75 w 104"/>
                <a:gd name="T41" fmla="*/ 96 h 112"/>
                <a:gd name="T42" fmla="*/ 68 w 104"/>
                <a:gd name="T43" fmla="*/ 100 h 112"/>
                <a:gd name="T44" fmla="*/ 56 w 104"/>
                <a:gd name="T45" fmla="*/ 100 h 112"/>
                <a:gd name="T46" fmla="*/ 52 w 104"/>
                <a:gd name="T47" fmla="*/ 110 h 112"/>
                <a:gd name="T48" fmla="*/ 41 w 104"/>
                <a:gd name="T49" fmla="*/ 110 h 112"/>
                <a:gd name="T50" fmla="*/ 33 w 104"/>
                <a:gd name="T51" fmla="*/ 96 h 112"/>
                <a:gd name="T52" fmla="*/ 18 w 104"/>
                <a:gd name="T53" fmla="*/ 98 h 112"/>
                <a:gd name="T54" fmla="*/ 31 w 104"/>
                <a:gd name="T55" fmla="*/ 96 h 112"/>
                <a:gd name="T56" fmla="*/ 31 w 104"/>
                <a:gd name="T57" fmla="*/ 73 h 112"/>
                <a:gd name="T58" fmla="*/ 18 w 104"/>
                <a:gd name="T59" fmla="*/ 64 h 112"/>
                <a:gd name="T60" fmla="*/ 4 w 104"/>
                <a:gd name="T61" fmla="*/ 41 h 112"/>
                <a:gd name="T62" fmla="*/ 2 w 104"/>
                <a:gd name="T63" fmla="*/ 25 h 112"/>
                <a:gd name="T64" fmla="*/ 0 w 104"/>
                <a:gd name="T65" fmla="*/ 23 h 112"/>
                <a:gd name="T66" fmla="*/ 0 w 104"/>
                <a:gd name="T67" fmla="*/ 23 h 112"/>
                <a:gd name="T68" fmla="*/ 10 w 104"/>
                <a:gd name="T69" fmla="*/ 112 h 112"/>
                <a:gd name="T70" fmla="*/ 10 w 104"/>
                <a:gd name="T71" fmla="*/ 112 h 112"/>
                <a:gd name="T72" fmla="*/ 12 w 104"/>
                <a:gd name="T73" fmla="*/ 110 h 112"/>
                <a:gd name="T74" fmla="*/ 10 w 104"/>
                <a:gd name="T7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" h="112">
                  <a:moveTo>
                    <a:pt x="0" y="23"/>
                  </a:moveTo>
                  <a:lnTo>
                    <a:pt x="10" y="10"/>
                  </a:lnTo>
                  <a:lnTo>
                    <a:pt x="23" y="1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54" y="14"/>
                  </a:lnTo>
                  <a:lnTo>
                    <a:pt x="60" y="1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9" y="10"/>
                  </a:lnTo>
                  <a:lnTo>
                    <a:pt x="83" y="4"/>
                  </a:lnTo>
                  <a:lnTo>
                    <a:pt x="91" y="10"/>
                  </a:lnTo>
                  <a:lnTo>
                    <a:pt x="104" y="14"/>
                  </a:lnTo>
                  <a:lnTo>
                    <a:pt x="100" y="35"/>
                  </a:lnTo>
                  <a:lnTo>
                    <a:pt x="100" y="48"/>
                  </a:lnTo>
                  <a:lnTo>
                    <a:pt x="102" y="62"/>
                  </a:lnTo>
                  <a:lnTo>
                    <a:pt x="96" y="66"/>
                  </a:lnTo>
                  <a:lnTo>
                    <a:pt x="96" y="79"/>
                  </a:lnTo>
                  <a:lnTo>
                    <a:pt x="81" y="89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68" y="100"/>
                  </a:lnTo>
                  <a:lnTo>
                    <a:pt x="56" y="100"/>
                  </a:lnTo>
                  <a:lnTo>
                    <a:pt x="52" y="110"/>
                  </a:lnTo>
                  <a:lnTo>
                    <a:pt x="41" y="110"/>
                  </a:lnTo>
                  <a:lnTo>
                    <a:pt x="33" y="96"/>
                  </a:lnTo>
                  <a:lnTo>
                    <a:pt x="18" y="98"/>
                  </a:lnTo>
                  <a:lnTo>
                    <a:pt x="31" y="96"/>
                  </a:lnTo>
                  <a:lnTo>
                    <a:pt x="31" y="73"/>
                  </a:lnTo>
                  <a:lnTo>
                    <a:pt x="18" y="64"/>
                  </a:lnTo>
                  <a:lnTo>
                    <a:pt x="4" y="41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3"/>
                  </a:lnTo>
                  <a:close/>
                  <a:moveTo>
                    <a:pt x="10" y="112"/>
                  </a:moveTo>
                  <a:lnTo>
                    <a:pt x="10" y="112"/>
                  </a:lnTo>
                  <a:lnTo>
                    <a:pt x="12" y="110"/>
                  </a:lnTo>
                  <a:lnTo>
                    <a:pt x="10" y="11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9" name="Томская обл.">
              <a:extLst>
                <a:ext uri="{FF2B5EF4-FFF2-40B4-BE49-F238E27FC236}">
                  <a16:creationId xmlns:a16="http://schemas.microsoft.com/office/drawing/2014/main" id="{F5B7C9F2-5D05-F580-A695-6DD3B3627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247" y="4691609"/>
              <a:ext cx="1164659" cy="760634"/>
            </a:xfrm>
            <a:custGeom>
              <a:avLst/>
              <a:gdLst>
                <a:gd name="T0" fmla="*/ 31 w 456"/>
                <a:gd name="T1" fmla="*/ 207 h 334"/>
                <a:gd name="T2" fmla="*/ 69 w 456"/>
                <a:gd name="T3" fmla="*/ 219 h 334"/>
                <a:gd name="T4" fmla="*/ 146 w 456"/>
                <a:gd name="T5" fmla="*/ 278 h 334"/>
                <a:gd name="T6" fmla="*/ 192 w 456"/>
                <a:gd name="T7" fmla="*/ 292 h 334"/>
                <a:gd name="T8" fmla="*/ 231 w 456"/>
                <a:gd name="T9" fmla="*/ 278 h 334"/>
                <a:gd name="T10" fmla="*/ 244 w 456"/>
                <a:gd name="T11" fmla="*/ 313 h 334"/>
                <a:gd name="T12" fmla="*/ 244 w 456"/>
                <a:gd name="T13" fmla="*/ 326 h 334"/>
                <a:gd name="T14" fmla="*/ 269 w 456"/>
                <a:gd name="T15" fmla="*/ 313 h 334"/>
                <a:gd name="T16" fmla="*/ 300 w 456"/>
                <a:gd name="T17" fmla="*/ 307 h 334"/>
                <a:gd name="T18" fmla="*/ 352 w 456"/>
                <a:gd name="T19" fmla="*/ 290 h 334"/>
                <a:gd name="T20" fmla="*/ 377 w 456"/>
                <a:gd name="T21" fmla="*/ 294 h 334"/>
                <a:gd name="T22" fmla="*/ 398 w 456"/>
                <a:gd name="T23" fmla="*/ 290 h 334"/>
                <a:gd name="T24" fmla="*/ 427 w 456"/>
                <a:gd name="T25" fmla="*/ 271 h 334"/>
                <a:gd name="T26" fmla="*/ 442 w 456"/>
                <a:gd name="T27" fmla="*/ 232 h 334"/>
                <a:gd name="T28" fmla="*/ 452 w 456"/>
                <a:gd name="T29" fmla="*/ 213 h 334"/>
                <a:gd name="T30" fmla="*/ 421 w 456"/>
                <a:gd name="T31" fmla="*/ 205 h 334"/>
                <a:gd name="T32" fmla="*/ 411 w 456"/>
                <a:gd name="T33" fmla="*/ 171 h 334"/>
                <a:gd name="T34" fmla="*/ 429 w 456"/>
                <a:gd name="T35" fmla="*/ 128 h 334"/>
                <a:gd name="T36" fmla="*/ 406 w 456"/>
                <a:gd name="T37" fmla="*/ 111 h 334"/>
                <a:gd name="T38" fmla="*/ 338 w 456"/>
                <a:gd name="T39" fmla="*/ 82 h 334"/>
                <a:gd name="T40" fmla="*/ 313 w 456"/>
                <a:gd name="T41" fmla="*/ 82 h 334"/>
                <a:gd name="T42" fmla="*/ 319 w 456"/>
                <a:gd name="T43" fmla="*/ 55 h 334"/>
                <a:gd name="T44" fmla="*/ 275 w 456"/>
                <a:gd name="T45" fmla="*/ 7 h 334"/>
                <a:gd name="T46" fmla="*/ 244 w 456"/>
                <a:gd name="T47" fmla="*/ 36 h 334"/>
                <a:gd name="T48" fmla="*/ 213 w 456"/>
                <a:gd name="T49" fmla="*/ 28 h 334"/>
                <a:gd name="T50" fmla="*/ 181 w 456"/>
                <a:gd name="T51" fmla="*/ 17 h 334"/>
                <a:gd name="T52" fmla="*/ 150 w 456"/>
                <a:gd name="T53" fmla="*/ 7 h 334"/>
                <a:gd name="T54" fmla="*/ 113 w 456"/>
                <a:gd name="T55" fmla="*/ 0 h 334"/>
                <a:gd name="T56" fmla="*/ 71 w 456"/>
                <a:gd name="T57" fmla="*/ 40 h 334"/>
                <a:gd name="T58" fmla="*/ 52 w 456"/>
                <a:gd name="T59" fmla="*/ 67 h 334"/>
                <a:gd name="T60" fmla="*/ 27 w 456"/>
                <a:gd name="T61" fmla="*/ 96 h 334"/>
                <a:gd name="T62" fmla="*/ 2 w 456"/>
                <a:gd name="T63" fmla="*/ 115 h 334"/>
                <a:gd name="T64" fmla="*/ 0 w 456"/>
                <a:gd name="T65" fmla="*/ 151 h 334"/>
                <a:gd name="T66" fmla="*/ 8 w 456"/>
                <a:gd name="T67" fmla="*/ 173 h 334"/>
                <a:gd name="T68" fmla="*/ 19 w 456"/>
                <a:gd name="T69" fmla="*/ 20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6" h="334">
                  <a:moveTo>
                    <a:pt x="19" y="205"/>
                  </a:moveTo>
                  <a:lnTo>
                    <a:pt x="31" y="207"/>
                  </a:lnTo>
                  <a:lnTo>
                    <a:pt x="44" y="219"/>
                  </a:lnTo>
                  <a:lnTo>
                    <a:pt x="69" y="219"/>
                  </a:lnTo>
                  <a:lnTo>
                    <a:pt x="111" y="234"/>
                  </a:lnTo>
                  <a:lnTo>
                    <a:pt x="146" y="278"/>
                  </a:lnTo>
                  <a:lnTo>
                    <a:pt x="177" y="278"/>
                  </a:lnTo>
                  <a:lnTo>
                    <a:pt x="192" y="292"/>
                  </a:lnTo>
                  <a:lnTo>
                    <a:pt x="221" y="290"/>
                  </a:lnTo>
                  <a:lnTo>
                    <a:pt x="231" y="278"/>
                  </a:lnTo>
                  <a:lnTo>
                    <a:pt x="246" y="284"/>
                  </a:lnTo>
                  <a:lnTo>
                    <a:pt x="244" y="313"/>
                  </a:lnTo>
                  <a:lnTo>
                    <a:pt x="248" y="319"/>
                  </a:lnTo>
                  <a:lnTo>
                    <a:pt x="244" y="326"/>
                  </a:lnTo>
                  <a:lnTo>
                    <a:pt x="250" y="334"/>
                  </a:lnTo>
                  <a:lnTo>
                    <a:pt x="269" y="313"/>
                  </a:lnTo>
                  <a:lnTo>
                    <a:pt x="288" y="317"/>
                  </a:lnTo>
                  <a:lnTo>
                    <a:pt x="300" y="307"/>
                  </a:lnTo>
                  <a:lnTo>
                    <a:pt x="327" y="309"/>
                  </a:lnTo>
                  <a:lnTo>
                    <a:pt x="352" y="290"/>
                  </a:lnTo>
                  <a:lnTo>
                    <a:pt x="373" y="290"/>
                  </a:lnTo>
                  <a:lnTo>
                    <a:pt x="377" y="294"/>
                  </a:lnTo>
                  <a:lnTo>
                    <a:pt x="390" y="284"/>
                  </a:lnTo>
                  <a:lnTo>
                    <a:pt x="398" y="290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31" y="248"/>
                  </a:lnTo>
                  <a:lnTo>
                    <a:pt x="442" y="232"/>
                  </a:lnTo>
                  <a:lnTo>
                    <a:pt x="456" y="228"/>
                  </a:lnTo>
                  <a:lnTo>
                    <a:pt x="452" y="213"/>
                  </a:lnTo>
                  <a:lnTo>
                    <a:pt x="440" y="205"/>
                  </a:lnTo>
                  <a:lnTo>
                    <a:pt x="421" y="205"/>
                  </a:lnTo>
                  <a:lnTo>
                    <a:pt x="417" y="194"/>
                  </a:lnTo>
                  <a:lnTo>
                    <a:pt x="411" y="171"/>
                  </a:lnTo>
                  <a:lnTo>
                    <a:pt x="438" y="136"/>
                  </a:lnTo>
                  <a:lnTo>
                    <a:pt x="429" y="128"/>
                  </a:lnTo>
                  <a:lnTo>
                    <a:pt x="409" y="128"/>
                  </a:lnTo>
                  <a:lnTo>
                    <a:pt x="406" y="111"/>
                  </a:lnTo>
                  <a:lnTo>
                    <a:pt x="381" y="80"/>
                  </a:lnTo>
                  <a:lnTo>
                    <a:pt x="338" y="82"/>
                  </a:lnTo>
                  <a:lnTo>
                    <a:pt x="327" y="86"/>
                  </a:lnTo>
                  <a:lnTo>
                    <a:pt x="313" y="82"/>
                  </a:lnTo>
                  <a:lnTo>
                    <a:pt x="306" y="67"/>
                  </a:lnTo>
                  <a:lnTo>
                    <a:pt x="319" y="55"/>
                  </a:lnTo>
                  <a:lnTo>
                    <a:pt x="304" y="23"/>
                  </a:lnTo>
                  <a:lnTo>
                    <a:pt x="275" y="7"/>
                  </a:lnTo>
                  <a:lnTo>
                    <a:pt x="248" y="21"/>
                  </a:lnTo>
                  <a:lnTo>
                    <a:pt x="244" y="36"/>
                  </a:lnTo>
                  <a:lnTo>
                    <a:pt x="225" y="23"/>
                  </a:lnTo>
                  <a:lnTo>
                    <a:pt x="213" y="28"/>
                  </a:lnTo>
                  <a:lnTo>
                    <a:pt x="196" y="11"/>
                  </a:lnTo>
                  <a:lnTo>
                    <a:pt x="181" y="17"/>
                  </a:lnTo>
                  <a:lnTo>
                    <a:pt x="156" y="15"/>
                  </a:lnTo>
                  <a:lnTo>
                    <a:pt x="150" y="7"/>
                  </a:lnTo>
                  <a:lnTo>
                    <a:pt x="125" y="7"/>
                  </a:lnTo>
                  <a:lnTo>
                    <a:pt x="113" y="0"/>
                  </a:lnTo>
                  <a:lnTo>
                    <a:pt x="86" y="5"/>
                  </a:lnTo>
                  <a:lnTo>
                    <a:pt x="71" y="40"/>
                  </a:lnTo>
                  <a:lnTo>
                    <a:pt x="71" y="63"/>
                  </a:lnTo>
                  <a:lnTo>
                    <a:pt x="52" y="67"/>
                  </a:lnTo>
                  <a:lnTo>
                    <a:pt x="29" y="84"/>
                  </a:lnTo>
                  <a:lnTo>
                    <a:pt x="27" y="96"/>
                  </a:lnTo>
                  <a:lnTo>
                    <a:pt x="6" y="113"/>
                  </a:lnTo>
                  <a:lnTo>
                    <a:pt x="2" y="115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8" y="155"/>
                  </a:lnTo>
                  <a:lnTo>
                    <a:pt x="8" y="173"/>
                  </a:lnTo>
                  <a:lnTo>
                    <a:pt x="19" y="198"/>
                  </a:lnTo>
                  <a:lnTo>
                    <a:pt x="19" y="20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0" name="Тверская обл.">
              <a:extLst>
                <a:ext uri="{FF2B5EF4-FFF2-40B4-BE49-F238E27FC236}">
                  <a16:creationId xmlns:a16="http://schemas.microsoft.com/office/drawing/2014/main" id="{E0257646-C105-163F-D635-F9C64A73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638" y="3525608"/>
              <a:ext cx="671723" cy="393980"/>
            </a:xfrm>
            <a:custGeom>
              <a:avLst/>
              <a:gdLst>
                <a:gd name="T0" fmla="*/ 0 w 263"/>
                <a:gd name="T1" fmla="*/ 64 h 173"/>
                <a:gd name="T2" fmla="*/ 6 w 263"/>
                <a:gd name="T3" fmla="*/ 52 h 173"/>
                <a:gd name="T4" fmla="*/ 17 w 263"/>
                <a:gd name="T5" fmla="*/ 48 h 173"/>
                <a:gd name="T6" fmla="*/ 25 w 263"/>
                <a:gd name="T7" fmla="*/ 33 h 173"/>
                <a:gd name="T8" fmla="*/ 23 w 263"/>
                <a:gd name="T9" fmla="*/ 19 h 173"/>
                <a:gd name="T10" fmla="*/ 33 w 263"/>
                <a:gd name="T11" fmla="*/ 12 h 173"/>
                <a:gd name="T12" fmla="*/ 38 w 263"/>
                <a:gd name="T13" fmla="*/ 0 h 173"/>
                <a:gd name="T14" fmla="*/ 48 w 263"/>
                <a:gd name="T15" fmla="*/ 8 h 173"/>
                <a:gd name="T16" fmla="*/ 69 w 263"/>
                <a:gd name="T17" fmla="*/ 12 h 173"/>
                <a:gd name="T18" fmla="*/ 75 w 263"/>
                <a:gd name="T19" fmla="*/ 19 h 173"/>
                <a:gd name="T20" fmla="*/ 88 w 263"/>
                <a:gd name="T21" fmla="*/ 19 h 173"/>
                <a:gd name="T22" fmla="*/ 90 w 263"/>
                <a:gd name="T23" fmla="*/ 25 h 173"/>
                <a:gd name="T24" fmla="*/ 106 w 263"/>
                <a:gd name="T25" fmla="*/ 25 h 173"/>
                <a:gd name="T26" fmla="*/ 117 w 263"/>
                <a:gd name="T27" fmla="*/ 31 h 173"/>
                <a:gd name="T28" fmla="*/ 123 w 263"/>
                <a:gd name="T29" fmla="*/ 31 h 173"/>
                <a:gd name="T30" fmla="*/ 131 w 263"/>
                <a:gd name="T31" fmla="*/ 23 h 173"/>
                <a:gd name="T32" fmla="*/ 144 w 263"/>
                <a:gd name="T33" fmla="*/ 25 h 173"/>
                <a:gd name="T34" fmla="*/ 152 w 263"/>
                <a:gd name="T35" fmla="*/ 16 h 173"/>
                <a:gd name="T36" fmla="*/ 167 w 263"/>
                <a:gd name="T37" fmla="*/ 19 h 173"/>
                <a:gd name="T38" fmla="*/ 169 w 263"/>
                <a:gd name="T39" fmla="*/ 29 h 173"/>
                <a:gd name="T40" fmla="*/ 175 w 263"/>
                <a:gd name="T41" fmla="*/ 39 h 173"/>
                <a:gd name="T42" fmla="*/ 186 w 263"/>
                <a:gd name="T43" fmla="*/ 39 h 173"/>
                <a:gd name="T44" fmla="*/ 196 w 263"/>
                <a:gd name="T45" fmla="*/ 50 h 173"/>
                <a:gd name="T46" fmla="*/ 202 w 263"/>
                <a:gd name="T47" fmla="*/ 46 h 173"/>
                <a:gd name="T48" fmla="*/ 202 w 263"/>
                <a:gd name="T49" fmla="*/ 42 h 173"/>
                <a:gd name="T50" fmla="*/ 234 w 263"/>
                <a:gd name="T51" fmla="*/ 60 h 173"/>
                <a:gd name="T52" fmla="*/ 261 w 263"/>
                <a:gd name="T53" fmla="*/ 60 h 173"/>
                <a:gd name="T54" fmla="*/ 263 w 263"/>
                <a:gd name="T55" fmla="*/ 87 h 173"/>
                <a:gd name="T56" fmla="*/ 250 w 263"/>
                <a:gd name="T57" fmla="*/ 96 h 173"/>
                <a:gd name="T58" fmla="*/ 244 w 263"/>
                <a:gd name="T59" fmla="*/ 110 h 173"/>
                <a:gd name="T60" fmla="*/ 240 w 263"/>
                <a:gd name="T61" fmla="*/ 110 h 173"/>
                <a:gd name="T62" fmla="*/ 229 w 263"/>
                <a:gd name="T63" fmla="*/ 117 h 173"/>
                <a:gd name="T64" fmla="*/ 231 w 263"/>
                <a:gd name="T65" fmla="*/ 135 h 173"/>
                <a:gd name="T66" fmla="*/ 223 w 263"/>
                <a:gd name="T67" fmla="*/ 142 h 173"/>
                <a:gd name="T68" fmla="*/ 229 w 263"/>
                <a:gd name="T69" fmla="*/ 158 h 173"/>
                <a:gd name="T70" fmla="*/ 206 w 263"/>
                <a:gd name="T71" fmla="*/ 173 h 173"/>
                <a:gd name="T72" fmla="*/ 190 w 263"/>
                <a:gd name="T73" fmla="*/ 169 h 173"/>
                <a:gd name="T74" fmla="*/ 171 w 263"/>
                <a:gd name="T75" fmla="*/ 160 h 173"/>
                <a:gd name="T76" fmla="*/ 163 w 263"/>
                <a:gd name="T77" fmla="*/ 160 h 173"/>
                <a:gd name="T78" fmla="*/ 146 w 263"/>
                <a:gd name="T79" fmla="*/ 152 h 173"/>
                <a:gd name="T80" fmla="*/ 133 w 263"/>
                <a:gd name="T81" fmla="*/ 150 h 173"/>
                <a:gd name="T82" fmla="*/ 125 w 263"/>
                <a:gd name="T83" fmla="*/ 133 h 173"/>
                <a:gd name="T84" fmla="*/ 113 w 263"/>
                <a:gd name="T85" fmla="*/ 144 h 173"/>
                <a:gd name="T86" fmla="*/ 100 w 263"/>
                <a:gd name="T87" fmla="*/ 144 h 173"/>
                <a:gd name="T88" fmla="*/ 100 w 263"/>
                <a:gd name="T89" fmla="*/ 146 h 173"/>
                <a:gd name="T90" fmla="*/ 90 w 263"/>
                <a:gd name="T91" fmla="*/ 131 h 173"/>
                <a:gd name="T92" fmla="*/ 77 w 263"/>
                <a:gd name="T93" fmla="*/ 121 h 173"/>
                <a:gd name="T94" fmla="*/ 75 w 263"/>
                <a:gd name="T95" fmla="*/ 110 h 173"/>
                <a:gd name="T96" fmla="*/ 69 w 263"/>
                <a:gd name="T97" fmla="*/ 108 h 173"/>
                <a:gd name="T98" fmla="*/ 58 w 263"/>
                <a:gd name="T99" fmla="*/ 110 h 173"/>
                <a:gd name="T100" fmla="*/ 46 w 263"/>
                <a:gd name="T101" fmla="*/ 112 h 173"/>
                <a:gd name="T102" fmla="*/ 15 w 263"/>
                <a:gd name="T103" fmla="*/ 87 h 173"/>
                <a:gd name="T104" fmla="*/ 15 w 263"/>
                <a:gd name="T105" fmla="*/ 75 h 173"/>
                <a:gd name="T106" fmla="*/ 0 w 263"/>
                <a:gd name="T107" fmla="*/ 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173">
                  <a:moveTo>
                    <a:pt x="0" y="64"/>
                  </a:moveTo>
                  <a:lnTo>
                    <a:pt x="6" y="52"/>
                  </a:lnTo>
                  <a:lnTo>
                    <a:pt x="17" y="48"/>
                  </a:lnTo>
                  <a:lnTo>
                    <a:pt x="25" y="33"/>
                  </a:lnTo>
                  <a:lnTo>
                    <a:pt x="23" y="19"/>
                  </a:lnTo>
                  <a:lnTo>
                    <a:pt x="33" y="12"/>
                  </a:lnTo>
                  <a:lnTo>
                    <a:pt x="38" y="0"/>
                  </a:lnTo>
                  <a:lnTo>
                    <a:pt x="48" y="8"/>
                  </a:lnTo>
                  <a:lnTo>
                    <a:pt x="69" y="12"/>
                  </a:lnTo>
                  <a:lnTo>
                    <a:pt x="75" y="19"/>
                  </a:lnTo>
                  <a:lnTo>
                    <a:pt x="88" y="19"/>
                  </a:lnTo>
                  <a:lnTo>
                    <a:pt x="90" y="25"/>
                  </a:lnTo>
                  <a:lnTo>
                    <a:pt x="106" y="25"/>
                  </a:lnTo>
                  <a:lnTo>
                    <a:pt x="117" y="31"/>
                  </a:lnTo>
                  <a:lnTo>
                    <a:pt x="123" y="31"/>
                  </a:lnTo>
                  <a:lnTo>
                    <a:pt x="131" y="23"/>
                  </a:lnTo>
                  <a:lnTo>
                    <a:pt x="144" y="25"/>
                  </a:lnTo>
                  <a:lnTo>
                    <a:pt x="152" y="16"/>
                  </a:lnTo>
                  <a:lnTo>
                    <a:pt x="167" y="19"/>
                  </a:lnTo>
                  <a:lnTo>
                    <a:pt x="169" y="29"/>
                  </a:lnTo>
                  <a:lnTo>
                    <a:pt x="175" y="39"/>
                  </a:lnTo>
                  <a:lnTo>
                    <a:pt x="186" y="39"/>
                  </a:lnTo>
                  <a:lnTo>
                    <a:pt x="196" y="50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34" y="60"/>
                  </a:lnTo>
                  <a:lnTo>
                    <a:pt x="261" y="60"/>
                  </a:lnTo>
                  <a:lnTo>
                    <a:pt x="263" y="87"/>
                  </a:lnTo>
                  <a:lnTo>
                    <a:pt x="250" y="96"/>
                  </a:lnTo>
                  <a:lnTo>
                    <a:pt x="244" y="110"/>
                  </a:lnTo>
                  <a:lnTo>
                    <a:pt x="240" y="110"/>
                  </a:lnTo>
                  <a:lnTo>
                    <a:pt x="229" y="117"/>
                  </a:lnTo>
                  <a:lnTo>
                    <a:pt x="231" y="135"/>
                  </a:lnTo>
                  <a:lnTo>
                    <a:pt x="223" y="142"/>
                  </a:lnTo>
                  <a:lnTo>
                    <a:pt x="229" y="158"/>
                  </a:lnTo>
                  <a:lnTo>
                    <a:pt x="206" y="173"/>
                  </a:lnTo>
                  <a:lnTo>
                    <a:pt x="190" y="169"/>
                  </a:lnTo>
                  <a:lnTo>
                    <a:pt x="171" y="160"/>
                  </a:lnTo>
                  <a:lnTo>
                    <a:pt x="163" y="160"/>
                  </a:lnTo>
                  <a:lnTo>
                    <a:pt x="146" y="152"/>
                  </a:lnTo>
                  <a:lnTo>
                    <a:pt x="133" y="150"/>
                  </a:lnTo>
                  <a:lnTo>
                    <a:pt x="125" y="133"/>
                  </a:lnTo>
                  <a:lnTo>
                    <a:pt x="113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90" y="131"/>
                  </a:lnTo>
                  <a:lnTo>
                    <a:pt x="77" y="121"/>
                  </a:lnTo>
                  <a:lnTo>
                    <a:pt x="75" y="110"/>
                  </a:lnTo>
                  <a:lnTo>
                    <a:pt x="69" y="108"/>
                  </a:lnTo>
                  <a:lnTo>
                    <a:pt x="58" y="110"/>
                  </a:lnTo>
                  <a:lnTo>
                    <a:pt x="46" y="112"/>
                  </a:lnTo>
                  <a:lnTo>
                    <a:pt x="15" y="87"/>
                  </a:lnTo>
                  <a:lnTo>
                    <a:pt x="15" y="75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1" name="Тамбовская обл.">
              <a:extLst>
                <a:ext uri="{FF2B5EF4-FFF2-40B4-BE49-F238E27FC236}">
                  <a16:creationId xmlns:a16="http://schemas.microsoft.com/office/drawing/2014/main" id="{C2DFECF7-1FE0-B155-F720-8AE93E915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870" y="4397832"/>
              <a:ext cx="314151" cy="309720"/>
            </a:xfrm>
            <a:custGeom>
              <a:avLst/>
              <a:gdLst>
                <a:gd name="T0" fmla="*/ 123 w 123"/>
                <a:gd name="T1" fmla="*/ 23 h 136"/>
                <a:gd name="T2" fmla="*/ 121 w 123"/>
                <a:gd name="T3" fmla="*/ 23 h 136"/>
                <a:gd name="T4" fmla="*/ 108 w 123"/>
                <a:gd name="T5" fmla="*/ 36 h 136"/>
                <a:gd name="T6" fmla="*/ 110 w 123"/>
                <a:gd name="T7" fmla="*/ 48 h 136"/>
                <a:gd name="T8" fmla="*/ 106 w 123"/>
                <a:gd name="T9" fmla="*/ 69 h 136"/>
                <a:gd name="T10" fmla="*/ 112 w 123"/>
                <a:gd name="T11" fmla="*/ 79 h 136"/>
                <a:gd name="T12" fmla="*/ 112 w 123"/>
                <a:gd name="T13" fmla="*/ 100 h 136"/>
                <a:gd name="T14" fmla="*/ 96 w 123"/>
                <a:gd name="T15" fmla="*/ 98 h 136"/>
                <a:gd name="T16" fmla="*/ 92 w 123"/>
                <a:gd name="T17" fmla="*/ 109 h 136"/>
                <a:gd name="T18" fmla="*/ 60 w 123"/>
                <a:gd name="T19" fmla="*/ 132 h 136"/>
                <a:gd name="T20" fmla="*/ 46 w 123"/>
                <a:gd name="T21" fmla="*/ 136 h 136"/>
                <a:gd name="T22" fmla="*/ 52 w 123"/>
                <a:gd name="T23" fmla="*/ 134 h 136"/>
                <a:gd name="T24" fmla="*/ 27 w 123"/>
                <a:gd name="T25" fmla="*/ 102 h 136"/>
                <a:gd name="T26" fmla="*/ 6 w 123"/>
                <a:gd name="T27" fmla="*/ 86 h 136"/>
                <a:gd name="T28" fmla="*/ 8 w 123"/>
                <a:gd name="T29" fmla="*/ 79 h 136"/>
                <a:gd name="T30" fmla="*/ 0 w 123"/>
                <a:gd name="T31" fmla="*/ 67 h 136"/>
                <a:gd name="T32" fmla="*/ 21 w 123"/>
                <a:gd name="T33" fmla="*/ 67 h 136"/>
                <a:gd name="T34" fmla="*/ 23 w 123"/>
                <a:gd name="T35" fmla="*/ 54 h 136"/>
                <a:gd name="T36" fmla="*/ 19 w 123"/>
                <a:gd name="T37" fmla="*/ 50 h 136"/>
                <a:gd name="T38" fmla="*/ 19 w 123"/>
                <a:gd name="T39" fmla="*/ 34 h 136"/>
                <a:gd name="T40" fmla="*/ 14 w 123"/>
                <a:gd name="T41" fmla="*/ 27 h 136"/>
                <a:gd name="T42" fmla="*/ 27 w 123"/>
                <a:gd name="T43" fmla="*/ 19 h 136"/>
                <a:gd name="T44" fmla="*/ 48 w 123"/>
                <a:gd name="T45" fmla="*/ 0 h 136"/>
                <a:gd name="T46" fmla="*/ 69 w 123"/>
                <a:gd name="T47" fmla="*/ 2 h 136"/>
                <a:gd name="T48" fmla="*/ 79 w 123"/>
                <a:gd name="T49" fmla="*/ 13 h 136"/>
                <a:gd name="T50" fmla="*/ 92 w 123"/>
                <a:gd name="T51" fmla="*/ 15 h 136"/>
                <a:gd name="T52" fmla="*/ 98 w 123"/>
                <a:gd name="T53" fmla="*/ 7 h 136"/>
                <a:gd name="T54" fmla="*/ 104 w 123"/>
                <a:gd name="T55" fmla="*/ 13 h 136"/>
                <a:gd name="T56" fmla="*/ 119 w 123"/>
                <a:gd name="T57" fmla="*/ 15 h 136"/>
                <a:gd name="T58" fmla="*/ 123 w 123"/>
                <a:gd name="T59" fmla="*/ 2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36">
                  <a:moveTo>
                    <a:pt x="123" y="23"/>
                  </a:moveTo>
                  <a:lnTo>
                    <a:pt x="121" y="23"/>
                  </a:lnTo>
                  <a:lnTo>
                    <a:pt x="108" y="36"/>
                  </a:lnTo>
                  <a:lnTo>
                    <a:pt x="110" y="48"/>
                  </a:lnTo>
                  <a:lnTo>
                    <a:pt x="106" y="69"/>
                  </a:lnTo>
                  <a:lnTo>
                    <a:pt x="112" y="79"/>
                  </a:lnTo>
                  <a:lnTo>
                    <a:pt x="112" y="100"/>
                  </a:lnTo>
                  <a:lnTo>
                    <a:pt x="96" y="98"/>
                  </a:lnTo>
                  <a:lnTo>
                    <a:pt x="92" y="109"/>
                  </a:lnTo>
                  <a:lnTo>
                    <a:pt x="60" y="13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27" y="102"/>
                  </a:lnTo>
                  <a:lnTo>
                    <a:pt x="6" y="86"/>
                  </a:lnTo>
                  <a:lnTo>
                    <a:pt x="8" y="79"/>
                  </a:lnTo>
                  <a:lnTo>
                    <a:pt x="0" y="67"/>
                  </a:lnTo>
                  <a:lnTo>
                    <a:pt x="21" y="67"/>
                  </a:lnTo>
                  <a:lnTo>
                    <a:pt x="23" y="54"/>
                  </a:lnTo>
                  <a:lnTo>
                    <a:pt x="19" y="50"/>
                  </a:lnTo>
                  <a:lnTo>
                    <a:pt x="19" y="34"/>
                  </a:lnTo>
                  <a:lnTo>
                    <a:pt x="14" y="27"/>
                  </a:lnTo>
                  <a:lnTo>
                    <a:pt x="27" y="19"/>
                  </a:lnTo>
                  <a:lnTo>
                    <a:pt x="48" y="0"/>
                  </a:lnTo>
                  <a:lnTo>
                    <a:pt x="69" y="2"/>
                  </a:lnTo>
                  <a:lnTo>
                    <a:pt x="79" y="13"/>
                  </a:lnTo>
                  <a:lnTo>
                    <a:pt x="92" y="15"/>
                  </a:lnTo>
                  <a:lnTo>
                    <a:pt x="98" y="7"/>
                  </a:lnTo>
                  <a:lnTo>
                    <a:pt x="104" y="13"/>
                  </a:lnTo>
                  <a:lnTo>
                    <a:pt x="119" y="15"/>
                  </a:lnTo>
                  <a:lnTo>
                    <a:pt x="123" y="2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2" name="Смоленская обл.">
              <a:extLst>
                <a:ext uri="{FF2B5EF4-FFF2-40B4-BE49-F238E27FC236}">
                  <a16:creationId xmlns:a16="http://schemas.microsoft.com/office/drawing/2014/main" id="{D909D1E1-0086-5B7A-F9FC-8541D9FCE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974" y="3644030"/>
              <a:ext cx="452071" cy="355265"/>
            </a:xfrm>
            <a:custGeom>
              <a:avLst/>
              <a:gdLst>
                <a:gd name="T0" fmla="*/ 3 w 85"/>
                <a:gd name="T1" fmla="*/ 66 h 75"/>
                <a:gd name="T2" fmla="*/ 5 w 85"/>
                <a:gd name="T3" fmla="*/ 61 h 75"/>
                <a:gd name="T4" fmla="*/ 6 w 85"/>
                <a:gd name="T5" fmla="*/ 54 h 75"/>
                <a:gd name="T6" fmla="*/ 1 w 85"/>
                <a:gd name="T7" fmla="*/ 47 h 75"/>
                <a:gd name="T8" fmla="*/ 5 w 85"/>
                <a:gd name="T9" fmla="*/ 41 h 75"/>
                <a:gd name="T10" fmla="*/ 4 w 85"/>
                <a:gd name="T11" fmla="*/ 34 h 75"/>
                <a:gd name="T12" fmla="*/ 10 w 85"/>
                <a:gd name="T13" fmla="*/ 25 h 75"/>
                <a:gd name="T14" fmla="*/ 10 w 85"/>
                <a:gd name="T15" fmla="*/ 16 h 75"/>
                <a:gd name="T16" fmla="*/ 20 w 85"/>
                <a:gd name="T17" fmla="*/ 12 h 75"/>
                <a:gd name="T18" fmla="*/ 26 w 85"/>
                <a:gd name="T19" fmla="*/ 4 h 75"/>
                <a:gd name="T20" fmla="*/ 29 w 85"/>
                <a:gd name="T21" fmla="*/ 0 h 75"/>
                <a:gd name="T22" fmla="*/ 34 w 85"/>
                <a:gd name="T23" fmla="*/ 0 h 75"/>
                <a:gd name="T24" fmla="*/ 37 w 85"/>
                <a:gd name="T25" fmla="*/ 6 h 75"/>
                <a:gd name="T26" fmla="*/ 44 w 85"/>
                <a:gd name="T27" fmla="*/ 11 h 75"/>
                <a:gd name="T28" fmla="*/ 44 w 85"/>
                <a:gd name="T29" fmla="*/ 17 h 75"/>
                <a:gd name="T30" fmla="*/ 59 w 85"/>
                <a:gd name="T31" fmla="*/ 29 h 75"/>
                <a:gd name="T32" fmla="*/ 65 w 85"/>
                <a:gd name="T33" fmla="*/ 28 h 75"/>
                <a:gd name="T34" fmla="*/ 70 w 85"/>
                <a:gd name="T35" fmla="*/ 27 h 75"/>
                <a:gd name="T36" fmla="*/ 73 w 85"/>
                <a:gd name="T37" fmla="*/ 28 h 75"/>
                <a:gd name="T38" fmla="*/ 74 w 85"/>
                <a:gd name="T39" fmla="*/ 33 h 75"/>
                <a:gd name="T40" fmla="*/ 80 w 85"/>
                <a:gd name="T41" fmla="*/ 38 h 75"/>
                <a:gd name="T42" fmla="*/ 85 w 85"/>
                <a:gd name="T43" fmla="*/ 45 h 75"/>
                <a:gd name="T44" fmla="*/ 84 w 85"/>
                <a:gd name="T45" fmla="*/ 53 h 75"/>
                <a:gd name="T46" fmla="*/ 77 w 85"/>
                <a:gd name="T47" fmla="*/ 55 h 75"/>
                <a:gd name="T48" fmla="*/ 70 w 85"/>
                <a:gd name="T49" fmla="*/ 65 h 75"/>
                <a:gd name="T50" fmla="*/ 62 w 85"/>
                <a:gd name="T51" fmla="*/ 64 h 75"/>
                <a:gd name="T52" fmla="*/ 54 w 85"/>
                <a:gd name="T53" fmla="*/ 69 h 75"/>
                <a:gd name="T54" fmla="*/ 47 w 85"/>
                <a:gd name="T55" fmla="*/ 63 h 75"/>
                <a:gd name="T56" fmla="*/ 42 w 85"/>
                <a:gd name="T57" fmla="*/ 65 h 75"/>
                <a:gd name="T58" fmla="*/ 38 w 85"/>
                <a:gd name="T59" fmla="*/ 57 h 75"/>
                <a:gd name="T60" fmla="*/ 32 w 85"/>
                <a:gd name="T61" fmla="*/ 57 h 75"/>
                <a:gd name="T62" fmla="*/ 29 w 85"/>
                <a:gd name="T63" fmla="*/ 61 h 75"/>
                <a:gd name="T64" fmla="*/ 25 w 85"/>
                <a:gd name="T65" fmla="*/ 62 h 75"/>
                <a:gd name="T66" fmla="*/ 23 w 85"/>
                <a:gd name="T67" fmla="*/ 64 h 75"/>
                <a:gd name="T68" fmla="*/ 23 w 85"/>
                <a:gd name="T69" fmla="*/ 63 h 75"/>
                <a:gd name="T70" fmla="*/ 13 w 85"/>
                <a:gd name="T71" fmla="*/ 67 h 75"/>
                <a:gd name="T72" fmla="*/ 7 w 85"/>
                <a:gd name="T73" fmla="*/ 75 h 75"/>
                <a:gd name="T74" fmla="*/ 5 w 85"/>
                <a:gd name="T75" fmla="*/ 68 h 75"/>
                <a:gd name="T76" fmla="*/ 3 w 85"/>
                <a:gd name="T77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75">
                  <a:moveTo>
                    <a:pt x="3" y="66"/>
                  </a:moveTo>
                  <a:cubicBezTo>
                    <a:pt x="4" y="65"/>
                    <a:pt x="4" y="64"/>
                    <a:pt x="5" y="61"/>
                  </a:cubicBezTo>
                  <a:cubicBezTo>
                    <a:pt x="5" y="56"/>
                    <a:pt x="6" y="57"/>
                    <a:pt x="6" y="54"/>
                  </a:cubicBezTo>
                  <a:cubicBezTo>
                    <a:pt x="6" y="51"/>
                    <a:pt x="2" y="50"/>
                    <a:pt x="1" y="47"/>
                  </a:cubicBezTo>
                  <a:cubicBezTo>
                    <a:pt x="0" y="43"/>
                    <a:pt x="5" y="43"/>
                    <a:pt x="5" y="41"/>
                  </a:cubicBezTo>
                  <a:cubicBezTo>
                    <a:pt x="6" y="39"/>
                    <a:pt x="4" y="36"/>
                    <a:pt x="4" y="34"/>
                  </a:cubicBezTo>
                  <a:cubicBezTo>
                    <a:pt x="3" y="31"/>
                    <a:pt x="8" y="27"/>
                    <a:pt x="10" y="25"/>
                  </a:cubicBezTo>
                  <a:cubicBezTo>
                    <a:pt x="11" y="23"/>
                    <a:pt x="10" y="18"/>
                    <a:pt x="10" y="16"/>
                  </a:cubicBezTo>
                  <a:cubicBezTo>
                    <a:pt x="11" y="13"/>
                    <a:pt x="17" y="13"/>
                    <a:pt x="20" y="12"/>
                  </a:cubicBezTo>
                  <a:cubicBezTo>
                    <a:pt x="24" y="11"/>
                    <a:pt x="21" y="6"/>
                    <a:pt x="26" y="4"/>
                  </a:cubicBezTo>
                  <a:cubicBezTo>
                    <a:pt x="28" y="3"/>
                    <a:pt x="29" y="2"/>
                    <a:pt x="2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3" y="66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3" name="Свердловская обл.">
              <a:extLst>
                <a:ext uri="{FF2B5EF4-FFF2-40B4-BE49-F238E27FC236}">
                  <a16:creationId xmlns:a16="http://schemas.microsoft.com/office/drawing/2014/main" id="{5C021134-34ED-4958-477D-12B01C69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019" y="4170096"/>
              <a:ext cx="804534" cy="831232"/>
            </a:xfrm>
            <a:custGeom>
              <a:avLst/>
              <a:gdLst>
                <a:gd name="T0" fmla="*/ 225 w 315"/>
                <a:gd name="T1" fmla="*/ 9 h 365"/>
                <a:gd name="T2" fmla="*/ 261 w 315"/>
                <a:gd name="T3" fmla="*/ 50 h 365"/>
                <a:gd name="T4" fmla="*/ 279 w 315"/>
                <a:gd name="T5" fmla="*/ 77 h 365"/>
                <a:gd name="T6" fmla="*/ 273 w 315"/>
                <a:gd name="T7" fmla="*/ 109 h 365"/>
                <a:gd name="T8" fmla="*/ 271 w 315"/>
                <a:gd name="T9" fmla="*/ 146 h 365"/>
                <a:gd name="T10" fmla="*/ 279 w 315"/>
                <a:gd name="T11" fmla="*/ 171 h 365"/>
                <a:gd name="T12" fmla="*/ 275 w 315"/>
                <a:gd name="T13" fmla="*/ 196 h 365"/>
                <a:gd name="T14" fmla="*/ 296 w 315"/>
                <a:gd name="T15" fmla="*/ 223 h 365"/>
                <a:gd name="T16" fmla="*/ 306 w 315"/>
                <a:gd name="T17" fmla="*/ 242 h 365"/>
                <a:gd name="T18" fmla="*/ 315 w 315"/>
                <a:gd name="T19" fmla="*/ 265 h 365"/>
                <a:gd name="T20" fmla="*/ 315 w 315"/>
                <a:gd name="T21" fmla="*/ 300 h 365"/>
                <a:gd name="T22" fmla="*/ 288 w 315"/>
                <a:gd name="T23" fmla="*/ 302 h 365"/>
                <a:gd name="T24" fmla="*/ 271 w 315"/>
                <a:gd name="T25" fmla="*/ 307 h 365"/>
                <a:gd name="T26" fmla="*/ 261 w 315"/>
                <a:gd name="T27" fmla="*/ 327 h 365"/>
                <a:gd name="T28" fmla="*/ 252 w 315"/>
                <a:gd name="T29" fmla="*/ 359 h 365"/>
                <a:gd name="T30" fmla="*/ 213 w 315"/>
                <a:gd name="T31" fmla="*/ 365 h 365"/>
                <a:gd name="T32" fmla="*/ 186 w 315"/>
                <a:gd name="T33" fmla="*/ 350 h 365"/>
                <a:gd name="T34" fmla="*/ 144 w 315"/>
                <a:gd name="T35" fmla="*/ 352 h 365"/>
                <a:gd name="T36" fmla="*/ 115 w 315"/>
                <a:gd name="T37" fmla="*/ 344 h 365"/>
                <a:gd name="T38" fmla="*/ 75 w 315"/>
                <a:gd name="T39" fmla="*/ 321 h 365"/>
                <a:gd name="T40" fmla="*/ 54 w 315"/>
                <a:gd name="T41" fmla="*/ 311 h 365"/>
                <a:gd name="T42" fmla="*/ 36 w 315"/>
                <a:gd name="T43" fmla="*/ 309 h 365"/>
                <a:gd name="T44" fmla="*/ 0 w 315"/>
                <a:gd name="T45" fmla="*/ 284 h 365"/>
                <a:gd name="T46" fmla="*/ 19 w 315"/>
                <a:gd name="T47" fmla="*/ 248 h 365"/>
                <a:gd name="T48" fmla="*/ 50 w 315"/>
                <a:gd name="T49" fmla="*/ 244 h 365"/>
                <a:gd name="T50" fmla="*/ 67 w 315"/>
                <a:gd name="T51" fmla="*/ 221 h 365"/>
                <a:gd name="T52" fmla="*/ 92 w 315"/>
                <a:gd name="T53" fmla="*/ 221 h 365"/>
                <a:gd name="T54" fmla="*/ 98 w 315"/>
                <a:gd name="T55" fmla="*/ 200 h 365"/>
                <a:gd name="T56" fmla="*/ 127 w 315"/>
                <a:gd name="T57" fmla="*/ 186 h 365"/>
                <a:gd name="T58" fmla="*/ 129 w 315"/>
                <a:gd name="T59" fmla="*/ 161 h 365"/>
                <a:gd name="T60" fmla="*/ 121 w 315"/>
                <a:gd name="T61" fmla="*/ 136 h 365"/>
                <a:gd name="T62" fmla="*/ 131 w 315"/>
                <a:gd name="T63" fmla="*/ 107 h 365"/>
                <a:gd name="T64" fmla="*/ 177 w 315"/>
                <a:gd name="T65" fmla="*/ 67 h 365"/>
                <a:gd name="T66" fmla="*/ 188 w 315"/>
                <a:gd name="T67" fmla="*/ 36 h 365"/>
                <a:gd name="T68" fmla="*/ 200 w 315"/>
                <a:gd name="T69" fmla="*/ 15 h 365"/>
                <a:gd name="T70" fmla="*/ 213 w 315"/>
                <a:gd name="T71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65">
                  <a:moveTo>
                    <a:pt x="213" y="0"/>
                  </a:moveTo>
                  <a:lnTo>
                    <a:pt x="225" y="9"/>
                  </a:lnTo>
                  <a:lnTo>
                    <a:pt x="223" y="19"/>
                  </a:lnTo>
                  <a:lnTo>
                    <a:pt x="261" y="50"/>
                  </a:lnTo>
                  <a:lnTo>
                    <a:pt x="267" y="67"/>
                  </a:lnTo>
                  <a:lnTo>
                    <a:pt x="279" y="77"/>
                  </a:lnTo>
                  <a:lnTo>
                    <a:pt x="279" y="98"/>
                  </a:lnTo>
                  <a:lnTo>
                    <a:pt x="273" y="109"/>
                  </a:lnTo>
                  <a:lnTo>
                    <a:pt x="273" y="129"/>
                  </a:lnTo>
                  <a:lnTo>
                    <a:pt x="271" y="146"/>
                  </a:lnTo>
                  <a:lnTo>
                    <a:pt x="281" y="161"/>
                  </a:lnTo>
                  <a:lnTo>
                    <a:pt x="279" y="171"/>
                  </a:lnTo>
                  <a:lnTo>
                    <a:pt x="271" y="182"/>
                  </a:lnTo>
                  <a:lnTo>
                    <a:pt x="275" y="196"/>
                  </a:lnTo>
                  <a:lnTo>
                    <a:pt x="292" y="202"/>
                  </a:lnTo>
                  <a:lnTo>
                    <a:pt x="296" y="223"/>
                  </a:lnTo>
                  <a:lnTo>
                    <a:pt x="309" y="227"/>
                  </a:lnTo>
                  <a:lnTo>
                    <a:pt x="306" y="242"/>
                  </a:lnTo>
                  <a:lnTo>
                    <a:pt x="309" y="259"/>
                  </a:lnTo>
                  <a:lnTo>
                    <a:pt x="315" y="265"/>
                  </a:lnTo>
                  <a:lnTo>
                    <a:pt x="311" y="288"/>
                  </a:lnTo>
                  <a:lnTo>
                    <a:pt x="315" y="300"/>
                  </a:lnTo>
                  <a:lnTo>
                    <a:pt x="300" y="309"/>
                  </a:lnTo>
                  <a:lnTo>
                    <a:pt x="288" y="302"/>
                  </a:lnTo>
                  <a:lnTo>
                    <a:pt x="284" y="311"/>
                  </a:lnTo>
                  <a:lnTo>
                    <a:pt x="271" y="307"/>
                  </a:lnTo>
                  <a:lnTo>
                    <a:pt x="261" y="317"/>
                  </a:lnTo>
                  <a:lnTo>
                    <a:pt x="261" y="327"/>
                  </a:lnTo>
                  <a:lnTo>
                    <a:pt x="256" y="342"/>
                  </a:lnTo>
                  <a:lnTo>
                    <a:pt x="252" y="359"/>
                  </a:lnTo>
                  <a:lnTo>
                    <a:pt x="238" y="350"/>
                  </a:lnTo>
                  <a:lnTo>
                    <a:pt x="213" y="365"/>
                  </a:lnTo>
                  <a:lnTo>
                    <a:pt x="204" y="350"/>
                  </a:lnTo>
                  <a:lnTo>
                    <a:pt x="186" y="350"/>
                  </a:lnTo>
                  <a:lnTo>
                    <a:pt x="163" y="342"/>
                  </a:lnTo>
                  <a:lnTo>
                    <a:pt x="144" y="352"/>
                  </a:lnTo>
                  <a:lnTo>
                    <a:pt x="125" y="334"/>
                  </a:lnTo>
                  <a:lnTo>
                    <a:pt x="115" y="344"/>
                  </a:lnTo>
                  <a:lnTo>
                    <a:pt x="96" y="332"/>
                  </a:lnTo>
                  <a:lnTo>
                    <a:pt x="75" y="321"/>
                  </a:lnTo>
                  <a:lnTo>
                    <a:pt x="65" y="309"/>
                  </a:lnTo>
                  <a:lnTo>
                    <a:pt x="54" y="311"/>
                  </a:lnTo>
                  <a:lnTo>
                    <a:pt x="42" y="323"/>
                  </a:lnTo>
                  <a:lnTo>
                    <a:pt x="36" y="309"/>
                  </a:lnTo>
                  <a:lnTo>
                    <a:pt x="21" y="307"/>
                  </a:lnTo>
                  <a:lnTo>
                    <a:pt x="0" y="284"/>
                  </a:lnTo>
                  <a:lnTo>
                    <a:pt x="15" y="267"/>
                  </a:lnTo>
                  <a:lnTo>
                    <a:pt x="19" y="248"/>
                  </a:lnTo>
                  <a:lnTo>
                    <a:pt x="40" y="250"/>
                  </a:lnTo>
                  <a:lnTo>
                    <a:pt x="50" y="244"/>
                  </a:lnTo>
                  <a:lnTo>
                    <a:pt x="56" y="225"/>
                  </a:lnTo>
                  <a:lnTo>
                    <a:pt x="67" y="221"/>
                  </a:lnTo>
                  <a:lnTo>
                    <a:pt x="79" y="232"/>
                  </a:lnTo>
                  <a:lnTo>
                    <a:pt x="92" y="221"/>
                  </a:lnTo>
                  <a:lnTo>
                    <a:pt x="83" y="209"/>
                  </a:lnTo>
                  <a:lnTo>
                    <a:pt x="98" y="200"/>
                  </a:lnTo>
                  <a:lnTo>
                    <a:pt x="113" y="200"/>
                  </a:lnTo>
                  <a:lnTo>
                    <a:pt x="127" y="186"/>
                  </a:lnTo>
                  <a:lnTo>
                    <a:pt x="117" y="173"/>
                  </a:lnTo>
                  <a:lnTo>
                    <a:pt x="129" y="161"/>
                  </a:lnTo>
                  <a:lnTo>
                    <a:pt x="129" y="146"/>
                  </a:lnTo>
                  <a:lnTo>
                    <a:pt x="121" y="136"/>
                  </a:lnTo>
                  <a:lnTo>
                    <a:pt x="123" y="119"/>
                  </a:lnTo>
                  <a:lnTo>
                    <a:pt x="131" y="107"/>
                  </a:lnTo>
                  <a:lnTo>
                    <a:pt x="150" y="107"/>
                  </a:lnTo>
                  <a:lnTo>
                    <a:pt x="177" y="67"/>
                  </a:lnTo>
                  <a:lnTo>
                    <a:pt x="188" y="54"/>
                  </a:lnTo>
                  <a:lnTo>
                    <a:pt x="188" y="36"/>
                  </a:lnTo>
                  <a:lnTo>
                    <a:pt x="202" y="29"/>
                  </a:lnTo>
                  <a:lnTo>
                    <a:pt x="200" y="15"/>
                  </a:lnTo>
                  <a:lnTo>
                    <a:pt x="208" y="4"/>
                  </a:lnTo>
                  <a:lnTo>
                    <a:pt x="21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4" name="Сахалинская обл.">
              <a:extLst>
                <a:ext uri="{FF2B5EF4-FFF2-40B4-BE49-F238E27FC236}">
                  <a16:creationId xmlns:a16="http://schemas.microsoft.com/office/drawing/2014/main" id="{FEF15541-1D9F-681E-1CDA-1FBD5BE3C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916" y="4104054"/>
              <a:ext cx="957778" cy="931434"/>
            </a:xfrm>
            <a:custGeom>
              <a:avLst/>
              <a:gdLst>
                <a:gd name="T0" fmla="*/ 1 w 180"/>
                <a:gd name="T1" fmla="*/ 5 h 196"/>
                <a:gd name="T2" fmla="*/ 7 w 180"/>
                <a:gd name="T3" fmla="*/ 13 h 196"/>
                <a:gd name="T4" fmla="*/ 15 w 180"/>
                <a:gd name="T5" fmla="*/ 20 h 196"/>
                <a:gd name="T6" fmla="*/ 16 w 180"/>
                <a:gd name="T7" fmla="*/ 27 h 196"/>
                <a:gd name="T8" fmla="*/ 11 w 180"/>
                <a:gd name="T9" fmla="*/ 37 h 196"/>
                <a:gd name="T10" fmla="*/ 22 w 180"/>
                <a:gd name="T11" fmla="*/ 47 h 196"/>
                <a:gd name="T12" fmla="*/ 38 w 180"/>
                <a:gd name="T13" fmla="*/ 68 h 196"/>
                <a:gd name="T14" fmla="*/ 58 w 180"/>
                <a:gd name="T15" fmla="*/ 74 h 196"/>
                <a:gd name="T16" fmla="*/ 66 w 180"/>
                <a:gd name="T17" fmla="*/ 89 h 196"/>
                <a:gd name="T18" fmla="*/ 83 w 180"/>
                <a:gd name="T19" fmla="*/ 104 h 196"/>
                <a:gd name="T20" fmla="*/ 103 w 180"/>
                <a:gd name="T21" fmla="*/ 133 h 196"/>
                <a:gd name="T22" fmla="*/ 116 w 180"/>
                <a:gd name="T23" fmla="*/ 141 h 196"/>
                <a:gd name="T24" fmla="*/ 127 w 180"/>
                <a:gd name="T25" fmla="*/ 156 h 196"/>
                <a:gd name="T26" fmla="*/ 136 w 180"/>
                <a:gd name="T27" fmla="*/ 166 h 196"/>
                <a:gd name="T28" fmla="*/ 143 w 180"/>
                <a:gd name="T29" fmla="*/ 179 h 196"/>
                <a:gd name="T30" fmla="*/ 159 w 180"/>
                <a:gd name="T31" fmla="*/ 193 h 196"/>
                <a:gd name="T32" fmla="*/ 162 w 180"/>
                <a:gd name="T33" fmla="*/ 186 h 196"/>
                <a:gd name="T34" fmla="*/ 155 w 180"/>
                <a:gd name="T35" fmla="*/ 172 h 196"/>
                <a:gd name="T36" fmla="*/ 161 w 180"/>
                <a:gd name="T37" fmla="*/ 167 h 196"/>
                <a:gd name="T38" fmla="*/ 166 w 180"/>
                <a:gd name="T39" fmla="*/ 163 h 196"/>
                <a:gd name="T40" fmla="*/ 178 w 180"/>
                <a:gd name="T41" fmla="*/ 168 h 196"/>
                <a:gd name="T42" fmla="*/ 170 w 180"/>
                <a:gd name="T43" fmla="*/ 156 h 196"/>
                <a:gd name="T44" fmla="*/ 162 w 180"/>
                <a:gd name="T45" fmla="*/ 158 h 196"/>
                <a:gd name="T46" fmla="*/ 153 w 180"/>
                <a:gd name="T47" fmla="*/ 152 h 196"/>
                <a:gd name="T48" fmla="*/ 138 w 180"/>
                <a:gd name="T49" fmla="*/ 150 h 196"/>
                <a:gd name="T50" fmla="*/ 124 w 180"/>
                <a:gd name="T51" fmla="*/ 133 h 196"/>
                <a:gd name="T52" fmla="*/ 114 w 180"/>
                <a:gd name="T53" fmla="*/ 114 h 196"/>
                <a:gd name="T54" fmla="*/ 114 w 180"/>
                <a:gd name="T55" fmla="*/ 100 h 196"/>
                <a:gd name="T56" fmla="*/ 128 w 180"/>
                <a:gd name="T57" fmla="*/ 94 h 196"/>
                <a:gd name="T58" fmla="*/ 137 w 180"/>
                <a:gd name="T59" fmla="*/ 95 h 196"/>
                <a:gd name="T60" fmla="*/ 120 w 180"/>
                <a:gd name="T61" fmla="*/ 88 h 196"/>
                <a:gd name="T62" fmla="*/ 74 w 180"/>
                <a:gd name="T63" fmla="*/ 58 h 196"/>
                <a:gd name="T64" fmla="*/ 61 w 180"/>
                <a:gd name="T65" fmla="*/ 50 h 196"/>
                <a:gd name="T66" fmla="*/ 51 w 180"/>
                <a:gd name="T67" fmla="*/ 42 h 196"/>
                <a:gd name="T68" fmla="*/ 43 w 180"/>
                <a:gd name="T69" fmla="*/ 30 h 196"/>
                <a:gd name="T70" fmla="*/ 25 w 180"/>
                <a:gd name="T71" fmla="*/ 16 h 196"/>
                <a:gd name="T72" fmla="*/ 12 w 180"/>
                <a:gd name="T73" fmla="*/ 7 h 196"/>
                <a:gd name="T74" fmla="*/ 5 w 180"/>
                <a:gd name="T75" fmla="*/ 0 h 196"/>
                <a:gd name="T76" fmla="*/ 1 w 180"/>
                <a:gd name="T77" fmla="*/ 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96">
                  <a:moveTo>
                    <a:pt x="1" y="5"/>
                  </a:moveTo>
                  <a:cubicBezTo>
                    <a:pt x="0" y="7"/>
                    <a:pt x="3" y="13"/>
                    <a:pt x="7" y="13"/>
                  </a:cubicBezTo>
                  <a:cubicBezTo>
                    <a:pt x="10" y="13"/>
                    <a:pt x="12" y="15"/>
                    <a:pt x="15" y="20"/>
                  </a:cubicBezTo>
                  <a:cubicBezTo>
                    <a:pt x="18" y="24"/>
                    <a:pt x="20" y="27"/>
                    <a:pt x="16" y="27"/>
                  </a:cubicBezTo>
                  <a:cubicBezTo>
                    <a:pt x="12" y="27"/>
                    <a:pt x="9" y="33"/>
                    <a:pt x="11" y="37"/>
                  </a:cubicBezTo>
                  <a:cubicBezTo>
                    <a:pt x="13" y="41"/>
                    <a:pt x="20" y="44"/>
                    <a:pt x="22" y="47"/>
                  </a:cubicBezTo>
                  <a:cubicBezTo>
                    <a:pt x="25" y="50"/>
                    <a:pt x="33" y="64"/>
                    <a:pt x="38" y="68"/>
                  </a:cubicBezTo>
                  <a:cubicBezTo>
                    <a:pt x="42" y="72"/>
                    <a:pt x="51" y="70"/>
                    <a:pt x="58" y="74"/>
                  </a:cubicBezTo>
                  <a:cubicBezTo>
                    <a:pt x="64" y="77"/>
                    <a:pt x="65" y="84"/>
                    <a:pt x="66" y="89"/>
                  </a:cubicBezTo>
                  <a:cubicBezTo>
                    <a:pt x="67" y="95"/>
                    <a:pt x="79" y="99"/>
                    <a:pt x="83" y="104"/>
                  </a:cubicBezTo>
                  <a:cubicBezTo>
                    <a:pt x="87" y="108"/>
                    <a:pt x="101" y="128"/>
                    <a:pt x="103" y="133"/>
                  </a:cubicBezTo>
                  <a:cubicBezTo>
                    <a:pt x="105" y="139"/>
                    <a:pt x="112" y="138"/>
                    <a:pt x="116" y="141"/>
                  </a:cubicBezTo>
                  <a:cubicBezTo>
                    <a:pt x="121" y="143"/>
                    <a:pt x="126" y="153"/>
                    <a:pt x="127" y="156"/>
                  </a:cubicBezTo>
                  <a:cubicBezTo>
                    <a:pt x="128" y="160"/>
                    <a:pt x="132" y="162"/>
                    <a:pt x="136" y="166"/>
                  </a:cubicBezTo>
                  <a:cubicBezTo>
                    <a:pt x="141" y="170"/>
                    <a:pt x="142" y="172"/>
                    <a:pt x="143" y="179"/>
                  </a:cubicBezTo>
                  <a:cubicBezTo>
                    <a:pt x="143" y="187"/>
                    <a:pt x="155" y="190"/>
                    <a:pt x="159" y="193"/>
                  </a:cubicBezTo>
                  <a:cubicBezTo>
                    <a:pt x="162" y="196"/>
                    <a:pt x="165" y="189"/>
                    <a:pt x="162" y="186"/>
                  </a:cubicBezTo>
                  <a:cubicBezTo>
                    <a:pt x="160" y="183"/>
                    <a:pt x="155" y="175"/>
                    <a:pt x="155" y="172"/>
                  </a:cubicBezTo>
                  <a:cubicBezTo>
                    <a:pt x="155" y="168"/>
                    <a:pt x="158" y="167"/>
                    <a:pt x="161" y="167"/>
                  </a:cubicBezTo>
                  <a:cubicBezTo>
                    <a:pt x="163" y="166"/>
                    <a:pt x="161" y="162"/>
                    <a:pt x="166" y="163"/>
                  </a:cubicBezTo>
                  <a:cubicBezTo>
                    <a:pt x="172" y="164"/>
                    <a:pt x="177" y="172"/>
                    <a:pt x="178" y="168"/>
                  </a:cubicBezTo>
                  <a:cubicBezTo>
                    <a:pt x="180" y="164"/>
                    <a:pt x="172" y="159"/>
                    <a:pt x="170" y="156"/>
                  </a:cubicBezTo>
                  <a:cubicBezTo>
                    <a:pt x="167" y="153"/>
                    <a:pt x="165" y="160"/>
                    <a:pt x="162" y="158"/>
                  </a:cubicBezTo>
                  <a:cubicBezTo>
                    <a:pt x="159" y="156"/>
                    <a:pt x="155" y="154"/>
                    <a:pt x="153" y="152"/>
                  </a:cubicBezTo>
                  <a:cubicBezTo>
                    <a:pt x="151" y="150"/>
                    <a:pt x="142" y="153"/>
                    <a:pt x="138" y="150"/>
                  </a:cubicBezTo>
                  <a:cubicBezTo>
                    <a:pt x="134" y="147"/>
                    <a:pt x="128" y="139"/>
                    <a:pt x="124" y="133"/>
                  </a:cubicBezTo>
                  <a:cubicBezTo>
                    <a:pt x="119" y="127"/>
                    <a:pt x="117" y="119"/>
                    <a:pt x="114" y="114"/>
                  </a:cubicBezTo>
                  <a:cubicBezTo>
                    <a:pt x="112" y="109"/>
                    <a:pt x="111" y="103"/>
                    <a:pt x="114" y="100"/>
                  </a:cubicBezTo>
                  <a:cubicBezTo>
                    <a:pt x="117" y="97"/>
                    <a:pt x="121" y="91"/>
                    <a:pt x="128" y="94"/>
                  </a:cubicBezTo>
                  <a:cubicBezTo>
                    <a:pt x="136" y="97"/>
                    <a:pt x="139" y="96"/>
                    <a:pt x="137" y="95"/>
                  </a:cubicBezTo>
                  <a:cubicBezTo>
                    <a:pt x="136" y="93"/>
                    <a:pt x="125" y="91"/>
                    <a:pt x="120" y="88"/>
                  </a:cubicBezTo>
                  <a:cubicBezTo>
                    <a:pt x="116" y="85"/>
                    <a:pt x="78" y="62"/>
                    <a:pt x="74" y="58"/>
                  </a:cubicBezTo>
                  <a:cubicBezTo>
                    <a:pt x="70" y="54"/>
                    <a:pt x="64" y="53"/>
                    <a:pt x="61" y="50"/>
                  </a:cubicBezTo>
                  <a:cubicBezTo>
                    <a:pt x="57" y="47"/>
                    <a:pt x="55" y="48"/>
                    <a:pt x="51" y="42"/>
                  </a:cubicBezTo>
                  <a:cubicBezTo>
                    <a:pt x="47" y="36"/>
                    <a:pt x="46" y="34"/>
                    <a:pt x="43" y="30"/>
                  </a:cubicBezTo>
                  <a:cubicBezTo>
                    <a:pt x="39" y="26"/>
                    <a:pt x="29" y="19"/>
                    <a:pt x="25" y="16"/>
                  </a:cubicBezTo>
                  <a:cubicBezTo>
                    <a:pt x="20" y="13"/>
                    <a:pt x="16" y="12"/>
                    <a:pt x="12" y="7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1" y="1"/>
                    <a:pt x="1" y="5"/>
                    <a:pt x="1" y="5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5" name="Саратовская обл.">
              <a:extLst>
                <a:ext uri="{FF2B5EF4-FFF2-40B4-BE49-F238E27FC236}">
                  <a16:creationId xmlns:a16="http://schemas.microsoft.com/office/drawing/2014/main" id="{C05F1390-EF8D-BE9B-B23C-037A085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6356" y="4625566"/>
              <a:ext cx="687046" cy="617161"/>
            </a:xfrm>
            <a:custGeom>
              <a:avLst/>
              <a:gdLst>
                <a:gd name="T0" fmla="*/ 129 w 129"/>
                <a:gd name="T1" fmla="*/ 101 h 130"/>
                <a:gd name="T2" fmla="*/ 119 w 129"/>
                <a:gd name="T3" fmla="*/ 105 h 130"/>
                <a:gd name="T4" fmla="*/ 102 w 129"/>
                <a:gd name="T5" fmla="*/ 105 h 130"/>
                <a:gd name="T6" fmla="*/ 95 w 129"/>
                <a:gd name="T7" fmla="*/ 105 h 130"/>
                <a:gd name="T8" fmla="*/ 83 w 129"/>
                <a:gd name="T9" fmla="*/ 107 h 130"/>
                <a:gd name="T10" fmla="*/ 73 w 129"/>
                <a:gd name="T11" fmla="*/ 121 h 130"/>
                <a:gd name="T12" fmla="*/ 58 w 129"/>
                <a:gd name="T13" fmla="*/ 119 h 130"/>
                <a:gd name="T14" fmla="*/ 58 w 129"/>
                <a:gd name="T15" fmla="*/ 100 h 130"/>
                <a:gd name="T16" fmla="*/ 50 w 129"/>
                <a:gd name="T17" fmla="*/ 102 h 130"/>
                <a:gd name="T18" fmla="*/ 49 w 129"/>
                <a:gd name="T19" fmla="*/ 92 h 130"/>
                <a:gd name="T20" fmla="*/ 46 w 129"/>
                <a:gd name="T21" fmla="*/ 89 h 130"/>
                <a:gd name="T22" fmla="*/ 45 w 129"/>
                <a:gd name="T23" fmla="*/ 84 h 130"/>
                <a:gd name="T24" fmla="*/ 40 w 129"/>
                <a:gd name="T25" fmla="*/ 83 h 130"/>
                <a:gd name="T26" fmla="*/ 37 w 129"/>
                <a:gd name="T27" fmla="*/ 81 h 130"/>
                <a:gd name="T28" fmla="*/ 37 w 129"/>
                <a:gd name="T29" fmla="*/ 75 h 130"/>
                <a:gd name="T30" fmla="*/ 32 w 129"/>
                <a:gd name="T31" fmla="*/ 73 h 130"/>
                <a:gd name="T32" fmla="*/ 28 w 129"/>
                <a:gd name="T33" fmla="*/ 75 h 130"/>
                <a:gd name="T34" fmla="*/ 24 w 129"/>
                <a:gd name="T35" fmla="*/ 70 h 130"/>
                <a:gd name="T36" fmla="*/ 29 w 129"/>
                <a:gd name="T37" fmla="*/ 64 h 130"/>
                <a:gd name="T38" fmla="*/ 30 w 129"/>
                <a:gd name="T39" fmla="*/ 56 h 130"/>
                <a:gd name="T40" fmla="*/ 19 w 129"/>
                <a:gd name="T41" fmla="*/ 46 h 130"/>
                <a:gd name="T42" fmla="*/ 15 w 129"/>
                <a:gd name="T43" fmla="*/ 48 h 130"/>
                <a:gd name="T44" fmla="*/ 14 w 129"/>
                <a:gd name="T45" fmla="*/ 44 h 130"/>
                <a:gd name="T46" fmla="*/ 8 w 129"/>
                <a:gd name="T47" fmla="*/ 41 h 130"/>
                <a:gd name="T48" fmla="*/ 2 w 129"/>
                <a:gd name="T49" fmla="*/ 40 h 130"/>
                <a:gd name="T50" fmla="*/ 0 w 129"/>
                <a:gd name="T51" fmla="*/ 26 h 130"/>
                <a:gd name="T52" fmla="*/ 0 w 129"/>
                <a:gd name="T53" fmla="*/ 26 h 130"/>
                <a:gd name="T54" fmla="*/ 3 w 129"/>
                <a:gd name="T55" fmla="*/ 23 h 130"/>
                <a:gd name="T56" fmla="*/ 0 w 129"/>
                <a:gd name="T57" fmla="*/ 17 h 130"/>
                <a:gd name="T58" fmla="*/ 7 w 129"/>
                <a:gd name="T59" fmla="*/ 15 h 130"/>
                <a:gd name="T60" fmla="*/ 22 w 129"/>
                <a:gd name="T61" fmla="*/ 4 h 130"/>
                <a:gd name="T62" fmla="*/ 24 w 129"/>
                <a:gd name="T63" fmla="*/ 0 h 130"/>
                <a:gd name="T64" fmla="*/ 27 w 129"/>
                <a:gd name="T65" fmla="*/ 5 h 130"/>
                <a:gd name="T66" fmla="*/ 30 w 129"/>
                <a:gd name="T67" fmla="*/ 7 h 130"/>
                <a:gd name="T68" fmla="*/ 30 w 129"/>
                <a:gd name="T69" fmla="*/ 12 h 130"/>
                <a:gd name="T70" fmla="*/ 41 w 129"/>
                <a:gd name="T71" fmla="*/ 19 h 130"/>
                <a:gd name="T72" fmla="*/ 48 w 129"/>
                <a:gd name="T73" fmla="*/ 19 h 130"/>
                <a:gd name="T74" fmla="*/ 52 w 129"/>
                <a:gd name="T75" fmla="*/ 25 h 130"/>
                <a:gd name="T76" fmla="*/ 70 w 129"/>
                <a:gd name="T77" fmla="*/ 36 h 130"/>
                <a:gd name="T78" fmla="*/ 76 w 129"/>
                <a:gd name="T79" fmla="*/ 35 h 130"/>
                <a:gd name="T80" fmla="*/ 79 w 129"/>
                <a:gd name="T81" fmla="*/ 34 h 130"/>
                <a:gd name="T82" fmla="*/ 83 w 129"/>
                <a:gd name="T83" fmla="*/ 38 h 130"/>
                <a:gd name="T84" fmla="*/ 90 w 129"/>
                <a:gd name="T85" fmla="*/ 49 h 130"/>
                <a:gd name="T86" fmla="*/ 102 w 129"/>
                <a:gd name="T87" fmla="*/ 49 h 130"/>
                <a:gd name="T88" fmla="*/ 108 w 129"/>
                <a:gd name="T89" fmla="*/ 56 h 130"/>
                <a:gd name="T90" fmla="*/ 110 w 129"/>
                <a:gd name="T91" fmla="*/ 65 h 130"/>
                <a:gd name="T92" fmla="*/ 115 w 129"/>
                <a:gd name="T93" fmla="*/ 67 h 130"/>
                <a:gd name="T94" fmla="*/ 119 w 129"/>
                <a:gd name="T95" fmla="*/ 76 h 130"/>
                <a:gd name="T96" fmla="*/ 124 w 129"/>
                <a:gd name="T97" fmla="*/ 82 h 130"/>
                <a:gd name="T98" fmla="*/ 123 w 129"/>
                <a:gd name="T99" fmla="*/ 87 h 130"/>
                <a:gd name="T100" fmla="*/ 129 w 129"/>
                <a:gd name="T101" fmla="*/ 97 h 130"/>
                <a:gd name="T102" fmla="*/ 129 w 129"/>
                <a:gd name="T103" fmla="*/ 10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130">
                  <a:moveTo>
                    <a:pt x="129" y="101"/>
                  </a:moveTo>
                  <a:cubicBezTo>
                    <a:pt x="126" y="100"/>
                    <a:pt x="122" y="103"/>
                    <a:pt x="119" y="105"/>
                  </a:cubicBezTo>
                  <a:cubicBezTo>
                    <a:pt x="114" y="107"/>
                    <a:pt x="103" y="107"/>
                    <a:pt x="102" y="105"/>
                  </a:cubicBezTo>
                  <a:cubicBezTo>
                    <a:pt x="101" y="103"/>
                    <a:pt x="97" y="101"/>
                    <a:pt x="95" y="105"/>
                  </a:cubicBezTo>
                  <a:cubicBezTo>
                    <a:pt x="93" y="110"/>
                    <a:pt x="90" y="108"/>
                    <a:pt x="83" y="107"/>
                  </a:cubicBezTo>
                  <a:cubicBezTo>
                    <a:pt x="76" y="105"/>
                    <a:pt x="74" y="112"/>
                    <a:pt x="73" y="121"/>
                  </a:cubicBezTo>
                  <a:cubicBezTo>
                    <a:pt x="71" y="130"/>
                    <a:pt x="58" y="123"/>
                    <a:pt x="58" y="119"/>
                  </a:cubicBezTo>
                  <a:cubicBezTo>
                    <a:pt x="59" y="115"/>
                    <a:pt x="59" y="106"/>
                    <a:pt x="58" y="100"/>
                  </a:cubicBezTo>
                  <a:cubicBezTo>
                    <a:pt x="57" y="96"/>
                    <a:pt x="54" y="99"/>
                    <a:pt x="50" y="10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1" y="43"/>
                    <a:pt x="8" y="41"/>
                  </a:cubicBezTo>
                  <a:cubicBezTo>
                    <a:pt x="6" y="39"/>
                    <a:pt x="2" y="40"/>
                    <a:pt x="2" y="4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9" y="97"/>
                    <a:pt x="129" y="97"/>
                    <a:pt x="129" y="97"/>
                  </a:cubicBezTo>
                  <a:lnTo>
                    <a:pt x="129" y="10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6" name="Самарская обл.">
              <a:extLst>
                <a:ext uri="{FF2B5EF4-FFF2-40B4-BE49-F238E27FC236}">
                  <a16:creationId xmlns:a16="http://schemas.microsoft.com/office/drawing/2014/main" id="{36C911CD-6E95-B0B7-9B08-E9B071A1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699" y="4759930"/>
              <a:ext cx="441855" cy="325661"/>
            </a:xfrm>
            <a:custGeom>
              <a:avLst/>
              <a:gdLst>
                <a:gd name="T0" fmla="*/ 0 w 83"/>
                <a:gd name="T1" fmla="*/ 24 h 69"/>
                <a:gd name="T2" fmla="*/ 8 w 83"/>
                <a:gd name="T3" fmla="*/ 22 h 69"/>
                <a:gd name="T4" fmla="*/ 7 w 83"/>
                <a:gd name="T5" fmla="*/ 17 h 69"/>
                <a:gd name="T6" fmla="*/ 4 w 83"/>
                <a:gd name="T7" fmla="*/ 11 h 69"/>
                <a:gd name="T8" fmla="*/ 7 w 83"/>
                <a:gd name="T9" fmla="*/ 5 h 69"/>
                <a:gd name="T10" fmla="*/ 13 w 83"/>
                <a:gd name="T11" fmla="*/ 4 h 69"/>
                <a:gd name="T12" fmla="*/ 20 w 83"/>
                <a:gd name="T13" fmla="*/ 0 h 69"/>
                <a:gd name="T14" fmla="*/ 24 w 83"/>
                <a:gd name="T15" fmla="*/ 6 h 69"/>
                <a:gd name="T16" fmla="*/ 30 w 83"/>
                <a:gd name="T17" fmla="*/ 3 h 69"/>
                <a:gd name="T18" fmla="*/ 36 w 83"/>
                <a:gd name="T19" fmla="*/ 6 h 69"/>
                <a:gd name="T20" fmla="*/ 41 w 83"/>
                <a:gd name="T21" fmla="*/ 14 h 69"/>
                <a:gd name="T22" fmla="*/ 50 w 83"/>
                <a:gd name="T23" fmla="*/ 8 h 69"/>
                <a:gd name="T24" fmla="*/ 55 w 83"/>
                <a:gd name="T25" fmla="*/ 0 h 69"/>
                <a:gd name="T26" fmla="*/ 64 w 83"/>
                <a:gd name="T27" fmla="*/ 9 h 69"/>
                <a:gd name="T28" fmla="*/ 70 w 83"/>
                <a:gd name="T29" fmla="*/ 4 h 69"/>
                <a:gd name="T30" fmla="*/ 83 w 83"/>
                <a:gd name="T31" fmla="*/ 12 h 69"/>
                <a:gd name="T32" fmla="*/ 81 w 83"/>
                <a:gd name="T33" fmla="*/ 18 h 69"/>
                <a:gd name="T34" fmla="*/ 83 w 83"/>
                <a:gd name="T35" fmla="*/ 23 h 69"/>
                <a:gd name="T36" fmla="*/ 83 w 83"/>
                <a:gd name="T37" fmla="*/ 23 h 69"/>
                <a:gd name="T38" fmla="*/ 82 w 83"/>
                <a:gd name="T39" fmla="*/ 29 h 69"/>
                <a:gd name="T40" fmla="*/ 79 w 83"/>
                <a:gd name="T41" fmla="*/ 34 h 69"/>
                <a:gd name="T42" fmla="*/ 67 w 83"/>
                <a:gd name="T43" fmla="*/ 44 h 69"/>
                <a:gd name="T44" fmla="*/ 61 w 83"/>
                <a:gd name="T45" fmla="*/ 54 h 69"/>
                <a:gd name="T46" fmla="*/ 53 w 83"/>
                <a:gd name="T47" fmla="*/ 56 h 69"/>
                <a:gd name="T48" fmla="*/ 51 w 83"/>
                <a:gd name="T49" fmla="*/ 59 h 69"/>
                <a:gd name="T50" fmla="*/ 43 w 83"/>
                <a:gd name="T51" fmla="*/ 61 h 69"/>
                <a:gd name="T52" fmla="*/ 38 w 83"/>
                <a:gd name="T53" fmla="*/ 69 h 69"/>
                <a:gd name="T54" fmla="*/ 24 w 83"/>
                <a:gd name="T55" fmla="*/ 69 h 69"/>
                <a:gd name="T56" fmla="*/ 24 w 83"/>
                <a:gd name="T57" fmla="*/ 69 h 69"/>
                <a:gd name="T58" fmla="*/ 18 w 83"/>
                <a:gd name="T59" fmla="*/ 59 h 69"/>
                <a:gd name="T60" fmla="*/ 19 w 83"/>
                <a:gd name="T61" fmla="*/ 54 h 69"/>
                <a:gd name="T62" fmla="*/ 14 w 83"/>
                <a:gd name="T63" fmla="*/ 48 h 69"/>
                <a:gd name="T64" fmla="*/ 10 w 83"/>
                <a:gd name="T65" fmla="*/ 39 h 69"/>
                <a:gd name="T66" fmla="*/ 5 w 83"/>
                <a:gd name="T67" fmla="*/ 37 h 69"/>
                <a:gd name="T68" fmla="*/ 3 w 83"/>
                <a:gd name="T69" fmla="*/ 28 h 69"/>
                <a:gd name="T70" fmla="*/ 0 w 83"/>
                <a:gd name="T71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69">
                  <a:moveTo>
                    <a:pt x="0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4" y="12"/>
                    <a:pt x="4" y="11"/>
                  </a:cubicBezTo>
                  <a:cubicBezTo>
                    <a:pt x="4" y="10"/>
                    <a:pt x="7" y="5"/>
                    <a:pt x="7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3" y="28"/>
                    <a:pt x="3" y="28"/>
                    <a:pt x="3" y="28"/>
                  </a:cubicBezTo>
                  <a:lnTo>
                    <a:pt x="0" y="2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7" name="Рязанская обл.">
              <a:extLst>
                <a:ext uri="{FF2B5EF4-FFF2-40B4-BE49-F238E27FC236}">
                  <a16:creationId xmlns:a16="http://schemas.microsoft.com/office/drawing/2014/main" id="{F2832416-3A6A-A4BC-BA1F-74800E43F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613" y="4190593"/>
              <a:ext cx="393328" cy="259617"/>
            </a:xfrm>
            <a:custGeom>
              <a:avLst/>
              <a:gdLst>
                <a:gd name="T0" fmla="*/ 146 w 154"/>
                <a:gd name="T1" fmla="*/ 39 h 114"/>
                <a:gd name="T2" fmla="*/ 144 w 154"/>
                <a:gd name="T3" fmla="*/ 41 h 114"/>
                <a:gd name="T4" fmla="*/ 142 w 154"/>
                <a:gd name="T5" fmla="*/ 56 h 114"/>
                <a:gd name="T6" fmla="*/ 154 w 154"/>
                <a:gd name="T7" fmla="*/ 68 h 114"/>
                <a:gd name="T8" fmla="*/ 154 w 154"/>
                <a:gd name="T9" fmla="*/ 85 h 114"/>
                <a:gd name="T10" fmla="*/ 137 w 154"/>
                <a:gd name="T11" fmla="*/ 87 h 114"/>
                <a:gd name="T12" fmla="*/ 129 w 154"/>
                <a:gd name="T13" fmla="*/ 100 h 114"/>
                <a:gd name="T14" fmla="*/ 121 w 154"/>
                <a:gd name="T15" fmla="*/ 100 h 114"/>
                <a:gd name="T16" fmla="*/ 121 w 154"/>
                <a:gd name="T17" fmla="*/ 106 h 114"/>
                <a:gd name="T18" fmla="*/ 110 w 154"/>
                <a:gd name="T19" fmla="*/ 114 h 114"/>
                <a:gd name="T20" fmla="*/ 100 w 154"/>
                <a:gd name="T21" fmla="*/ 114 h 114"/>
                <a:gd name="T22" fmla="*/ 96 w 154"/>
                <a:gd name="T23" fmla="*/ 106 h 114"/>
                <a:gd name="T24" fmla="*/ 81 w 154"/>
                <a:gd name="T25" fmla="*/ 104 h 114"/>
                <a:gd name="T26" fmla="*/ 75 w 154"/>
                <a:gd name="T27" fmla="*/ 98 h 114"/>
                <a:gd name="T28" fmla="*/ 69 w 154"/>
                <a:gd name="T29" fmla="*/ 106 h 114"/>
                <a:gd name="T30" fmla="*/ 56 w 154"/>
                <a:gd name="T31" fmla="*/ 104 h 114"/>
                <a:gd name="T32" fmla="*/ 46 w 154"/>
                <a:gd name="T33" fmla="*/ 93 h 114"/>
                <a:gd name="T34" fmla="*/ 29 w 154"/>
                <a:gd name="T35" fmla="*/ 91 h 114"/>
                <a:gd name="T36" fmla="*/ 27 w 154"/>
                <a:gd name="T37" fmla="*/ 73 h 114"/>
                <a:gd name="T38" fmla="*/ 16 w 154"/>
                <a:gd name="T39" fmla="*/ 62 h 114"/>
                <a:gd name="T40" fmla="*/ 6 w 154"/>
                <a:gd name="T41" fmla="*/ 68 h 114"/>
                <a:gd name="T42" fmla="*/ 4 w 154"/>
                <a:gd name="T43" fmla="*/ 60 h 114"/>
                <a:gd name="T44" fmla="*/ 4 w 154"/>
                <a:gd name="T45" fmla="*/ 50 h 114"/>
                <a:gd name="T46" fmla="*/ 0 w 154"/>
                <a:gd name="T47" fmla="*/ 48 h 114"/>
                <a:gd name="T48" fmla="*/ 4 w 154"/>
                <a:gd name="T49" fmla="*/ 41 h 114"/>
                <a:gd name="T50" fmla="*/ 19 w 154"/>
                <a:gd name="T51" fmla="*/ 31 h 114"/>
                <a:gd name="T52" fmla="*/ 19 w 154"/>
                <a:gd name="T53" fmla="*/ 18 h 114"/>
                <a:gd name="T54" fmla="*/ 33 w 154"/>
                <a:gd name="T55" fmla="*/ 10 h 114"/>
                <a:gd name="T56" fmla="*/ 37 w 154"/>
                <a:gd name="T57" fmla="*/ 2 h 114"/>
                <a:gd name="T58" fmla="*/ 46 w 154"/>
                <a:gd name="T59" fmla="*/ 2 h 114"/>
                <a:gd name="T60" fmla="*/ 50 w 154"/>
                <a:gd name="T61" fmla="*/ 6 h 114"/>
                <a:gd name="T62" fmla="*/ 64 w 154"/>
                <a:gd name="T63" fmla="*/ 0 h 114"/>
                <a:gd name="T64" fmla="*/ 79 w 154"/>
                <a:gd name="T65" fmla="*/ 6 h 114"/>
                <a:gd name="T66" fmla="*/ 91 w 154"/>
                <a:gd name="T67" fmla="*/ 0 h 114"/>
                <a:gd name="T68" fmla="*/ 108 w 154"/>
                <a:gd name="T69" fmla="*/ 0 h 114"/>
                <a:gd name="T70" fmla="*/ 114 w 154"/>
                <a:gd name="T71" fmla="*/ 10 h 114"/>
                <a:gd name="T72" fmla="*/ 123 w 154"/>
                <a:gd name="T73" fmla="*/ 16 h 114"/>
                <a:gd name="T74" fmla="*/ 125 w 154"/>
                <a:gd name="T75" fmla="*/ 25 h 114"/>
                <a:gd name="T76" fmla="*/ 137 w 154"/>
                <a:gd name="T77" fmla="*/ 35 h 114"/>
                <a:gd name="T78" fmla="*/ 146 w 154"/>
                <a:gd name="T79" fmla="*/ 3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14">
                  <a:moveTo>
                    <a:pt x="146" y="39"/>
                  </a:moveTo>
                  <a:lnTo>
                    <a:pt x="144" y="41"/>
                  </a:lnTo>
                  <a:lnTo>
                    <a:pt x="142" y="56"/>
                  </a:lnTo>
                  <a:lnTo>
                    <a:pt x="154" y="68"/>
                  </a:lnTo>
                  <a:lnTo>
                    <a:pt x="154" y="85"/>
                  </a:lnTo>
                  <a:lnTo>
                    <a:pt x="137" y="87"/>
                  </a:lnTo>
                  <a:lnTo>
                    <a:pt x="129" y="100"/>
                  </a:lnTo>
                  <a:lnTo>
                    <a:pt x="121" y="100"/>
                  </a:lnTo>
                  <a:lnTo>
                    <a:pt x="121" y="106"/>
                  </a:lnTo>
                  <a:lnTo>
                    <a:pt x="110" y="114"/>
                  </a:lnTo>
                  <a:lnTo>
                    <a:pt x="100" y="114"/>
                  </a:lnTo>
                  <a:lnTo>
                    <a:pt x="96" y="106"/>
                  </a:lnTo>
                  <a:lnTo>
                    <a:pt x="81" y="104"/>
                  </a:lnTo>
                  <a:lnTo>
                    <a:pt x="75" y="98"/>
                  </a:lnTo>
                  <a:lnTo>
                    <a:pt x="69" y="106"/>
                  </a:lnTo>
                  <a:lnTo>
                    <a:pt x="56" y="104"/>
                  </a:lnTo>
                  <a:lnTo>
                    <a:pt x="46" y="93"/>
                  </a:lnTo>
                  <a:lnTo>
                    <a:pt x="29" y="91"/>
                  </a:lnTo>
                  <a:lnTo>
                    <a:pt x="27" y="73"/>
                  </a:lnTo>
                  <a:lnTo>
                    <a:pt x="16" y="62"/>
                  </a:lnTo>
                  <a:lnTo>
                    <a:pt x="6" y="68"/>
                  </a:lnTo>
                  <a:lnTo>
                    <a:pt x="4" y="60"/>
                  </a:lnTo>
                  <a:lnTo>
                    <a:pt x="4" y="50"/>
                  </a:lnTo>
                  <a:lnTo>
                    <a:pt x="0" y="48"/>
                  </a:lnTo>
                  <a:lnTo>
                    <a:pt x="4" y="41"/>
                  </a:lnTo>
                  <a:lnTo>
                    <a:pt x="19" y="31"/>
                  </a:lnTo>
                  <a:lnTo>
                    <a:pt x="19" y="18"/>
                  </a:lnTo>
                  <a:lnTo>
                    <a:pt x="33" y="10"/>
                  </a:lnTo>
                  <a:lnTo>
                    <a:pt x="37" y="2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64" y="0"/>
                  </a:lnTo>
                  <a:lnTo>
                    <a:pt x="79" y="6"/>
                  </a:lnTo>
                  <a:lnTo>
                    <a:pt x="91" y="0"/>
                  </a:lnTo>
                  <a:lnTo>
                    <a:pt x="108" y="0"/>
                  </a:lnTo>
                  <a:lnTo>
                    <a:pt x="114" y="10"/>
                  </a:lnTo>
                  <a:lnTo>
                    <a:pt x="123" y="16"/>
                  </a:lnTo>
                  <a:lnTo>
                    <a:pt x="125" y="25"/>
                  </a:lnTo>
                  <a:lnTo>
                    <a:pt x="137" y="35"/>
                  </a:lnTo>
                  <a:lnTo>
                    <a:pt x="146" y="3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8" name="Ростовская обл.">
              <a:extLst>
                <a:ext uri="{FF2B5EF4-FFF2-40B4-BE49-F238E27FC236}">
                  <a16:creationId xmlns:a16="http://schemas.microsoft.com/office/drawing/2014/main" id="{6BEA55E0-8DE2-53DD-8221-C75C8C7D2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48" y="4778149"/>
              <a:ext cx="592545" cy="578446"/>
            </a:xfrm>
            <a:custGeom>
              <a:avLst/>
              <a:gdLst>
                <a:gd name="T0" fmla="*/ 31 w 111"/>
                <a:gd name="T1" fmla="*/ 101 h 122"/>
                <a:gd name="T2" fmla="*/ 27 w 111"/>
                <a:gd name="T3" fmla="*/ 99 h 122"/>
                <a:gd name="T4" fmla="*/ 27 w 111"/>
                <a:gd name="T5" fmla="*/ 100 h 122"/>
                <a:gd name="T6" fmla="*/ 28 w 111"/>
                <a:gd name="T7" fmla="*/ 88 h 122"/>
                <a:gd name="T8" fmla="*/ 17 w 111"/>
                <a:gd name="T9" fmla="*/ 76 h 122"/>
                <a:gd name="T10" fmla="*/ 19 w 111"/>
                <a:gd name="T11" fmla="*/ 68 h 122"/>
                <a:gd name="T12" fmla="*/ 21 w 111"/>
                <a:gd name="T13" fmla="*/ 64 h 122"/>
                <a:gd name="T14" fmla="*/ 11 w 111"/>
                <a:gd name="T15" fmla="*/ 54 h 122"/>
                <a:gd name="T16" fmla="*/ 3 w 111"/>
                <a:gd name="T17" fmla="*/ 53 h 122"/>
                <a:gd name="T18" fmla="*/ 0 w 111"/>
                <a:gd name="T19" fmla="*/ 36 h 122"/>
                <a:gd name="T20" fmla="*/ 7 w 111"/>
                <a:gd name="T21" fmla="*/ 41 h 122"/>
                <a:gd name="T22" fmla="*/ 19 w 111"/>
                <a:gd name="T23" fmla="*/ 42 h 122"/>
                <a:gd name="T24" fmla="*/ 6 w 111"/>
                <a:gd name="T25" fmla="*/ 32 h 122"/>
                <a:gd name="T26" fmla="*/ 4 w 111"/>
                <a:gd name="T27" fmla="*/ 31 h 122"/>
                <a:gd name="T28" fmla="*/ 9 w 111"/>
                <a:gd name="T29" fmla="*/ 25 h 122"/>
                <a:gd name="T30" fmla="*/ 16 w 111"/>
                <a:gd name="T31" fmla="*/ 22 h 122"/>
                <a:gd name="T32" fmla="*/ 24 w 111"/>
                <a:gd name="T33" fmla="*/ 24 h 122"/>
                <a:gd name="T34" fmla="*/ 33 w 111"/>
                <a:gd name="T35" fmla="*/ 28 h 122"/>
                <a:gd name="T36" fmla="*/ 41 w 111"/>
                <a:gd name="T37" fmla="*/ 35 h 122"/>
                <a:gd name="T38" fmla="*/ 51 w 111"/>
                <a:gd name="T39" fmla="*/ 27 h 122"/>
                <a:gd name="T40" fmla="*/ 57 w 111"/>
                <a:gd name="T41" fmla="*/ 17 h 122"/>
                <a:gd name="T42" fmla="*/ 62 w 111"/>
                <a:gd name="T43" fmla="*/ 11 h 122"/>
                <a:gd name="T44" fmla="*/ 71 w 111"/>
                <a:gd name="T45" fmla="*/ 10 h 122"/>
                <a:gd name="T46" fmla="*/ 77 w 111"/>
                <a:gd name="T47" fmla="*/ 4 h 122"/>
                <a:gd name="T48" fmla="*/ 77 w 111"/>
                <a:gd name="T49" fmla="*/ 1 h 122"/>
                <a:gd name="T50" fmla="*/ 80 w 111"/>
                <a:gd name="T51" fmla="*/ 0 h 122"/>
                <a:gd name="T52" fmla="*/ 81 w 111"/>
                <a:gd name="T53" fmla="*/ 5 h 122"/>
                <a:gd name="T54" fmla="*/ 87 w 111"/>
                <a:gd name="T55" fmla="*/ 6 h 122"/>
                <a:gd name="T56" fmla="*/ 90 w 111"/>
                <a:gd name="T57" fmla="*/ 10 h 122"/>
                <a:gd name="T58" fmla="*/ 95 w 111"/>
                <a:gd name="T59" fmla="*/ 8 h 122"/>
                <a:gd name="T60" fmla="*/ 97 w 111"/>
                <a:gd name="T61" fmla="*/ 6 h 122"/>
                <a:gd name="T62" fmla="*/ 105 w 111"/>
                <a:gd name="T63" fmla="*/ 6 h 122"/>
                <a:gd name="T64" fmla="*/ 110 w 111"/>
                <a:gd name="T65" fmla="*/ 18 h 122"/>
                <a:gd name="T66" fmla="*/ 109 w 111"/>
                <a:gd name="T67" fmla="*/ 23 h 122"/>
                <a:gd name="T68" fmla="*/ 100 w 111"/>
                <a:gd name="T69" fmla="*/ 33 h 122"/>
                <a:gd name="T70" fmla="*/ 102 w 111"/>
                <a:gd name="T71" fmla="*/ 43 h 122"/>
                <a:gd name="T72" fmla="*/ 100 w 111"/>
                <a:gd name="T73" fmla="*/ 53 h 122"/>
                <a:gd name="T74" fmla="*/ 93 w 111"/>
                <a:gd name="T75" fmla="*/ 56 h 122"/>
                <a:gd name="T76" fmla="*/ 87 w 111"/>
                <a:gd name="T77" fmla="*/ 52 h 122"/>
                <a:gd name="T78" fmla="*/ 81 w 111"/>
                <a:gd name="T79" fmla="*/ 56 h 122"/>
                <a:gd name="T80" fmla="*/ 77 w 111"/>
                <a:gd name="T81" fmla="*/ 62 h 122"/>
                <a:gd name="T82" fmla="*/ 83 w 111"/>
                <a:gd name="T83" fmla="*/ 67 h 122"/>
                <a:gd name="T84" fmla="*/ 84 w 111"/>
                <a:gd name="T85" fmla="*/ 76 h 122"/>
                <a:gd name="T86" fmla="*/ 84 w 111"/>
                <a:gd name="T87" fmla="*/ 84 h 122"/>
                <a:gd name="T88" fmla="*/ 89 w 111"/>
                <a:gd name="T89" fmla="*/ 91 h 122"/>
                <a:gd name="T90" fmla="*/ 91 w 111"/>
                <a:gd name="T91" fmla="*/ 99 h 122"/>
                <a:gd name="T92" fmla="*/ 95 w 111"/>
                <a:gd name="T93" fmla="*/ 100 h 122"/>
                <a:gd name="T94" fmla="*/ 100 w 111"/>
                <a:gd name="T95" fmla="*/ 101 h 122"/>
                <a:gd name="T96" fmla="*/ 96 w 111"/>
                <a:gd name="T97" fmla="*/ 109 h 122"/>
                <a:gd name="T98" fmla="*/ 86 w 111"/>
                <a:gd name="T99" fmla="*/ 114 h 122"/>
                <a:gd name="T100" fmla="*/ 79 w 111"/>
                <a:gd name="T101" fmla="*/ 116 h 122"/>
                <a:gd name="T102" fmla="*/ 74 w 111"/>
                <a:gd name="T103" fmla="*/ 121 h 122"/>
                <a:gd name="T104" fmla="*/ 65 w 111"/>
                <a:gd name="T105" fmla="*/ 119 h 122"/>
                <a:gd name="T106" fmla="*/ 61 w 111"/>
                <a:gd name="T107" fmla="*/ 107 h 122"/>
                <a:gd name="T108" fmla="*/ 54 w 111"/>
                <a:gd name="T109" fmla="*/ 104 h 122"/>
                <a:gd name="T110" fmla="*/ 53 w 111"/>
                <a:gd name="T111" fmla="*/ 96 h 122"/>
                <a:gd name="T112" fmla="*/ 48 w 111"/>
                <a:gd name="T113" fmla="*/ 98 h 122"/>
                <a:gd name="T114" fmla="*/ 41 w 111"/>
                <a:gd name="T115" fmla="*/ 100 h 122"/>
                <a:gd name="T116" fmla="*/ 35 w 111"/>
                <a:gd name="T117" fmla="*/ 99 h 122"/>
                <a:gd name="T118" fmla="*/ 31 w 111"/>
                <a:gd name="T119" fmla="*/ 10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" h="122">
                  <a:moveTo>
                    <a:pt x="31" y="101"/>
                  </a:moveTo>
                  <a:cubicBezTo>
                    <a:pt x="30" y="100"/>
                    <a:pt x="29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16" y="76"/>
                    <a:pt x="17" y="76"/>
                  </a:cubicBezTo>
                  <a:cubicBezTo>
                    <a:pt x="19" y="76"/>
                    <a:pt x="19" y="69"/>
                    <a:pt x="19" y="68"/>
                  </a:cubicBezTo>
                  <a:cubicBezTo>
                    <a:pt x="19" y="67"/>
                    <a:pt x="21" y="64"/>
                    <a:pt x="21" y="64"/>
                  </a:cubicBezTo>
                  <a:cubicBezTo>
                    <a:pt x="21" y="64"/>
                    <a:pt x="14" y="53"/>
                    <a:pt x="11" y="54"/>
                  </a:cubicBezTo>
                  <a:cubicBezTo>
                    <a:pt x="9" y="55"/>
                    <a:pt x="4" y="55"/>
                    <a:pt x="3" y="53"/>
                  </a:cubicBezTo>
                  <a:cubicBezTo>
                    <a:pt x="3" y="52"/>
                    <a:pt x="1" y="41"/>
                    <a:pt x="0" y="36"/>
                  </a:cubicBezTo>
                  <a:cubicBezTo>
                    <a:pt x="2" y="36"/>
                    <a:pt x="5" y="40"/>
                    <a:pt x="7" y="41"/>
                  </a:cubicBezTo>
                  <a:cubicBezTo>
                    <a:pt x="9" y="42"/>
                    <a:pt x="18" y="46"/>
                    <a:pt x="19" y="42"/>
                  </a:cubicBezTo>
                  <a:cubicBezTo>
                    <a:pt x="19" y="39"/>
                    <a:pt x="10" y="34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6" y="29"/>
                    <a:pt x="8" y="26"/>
                    <a:pt x="9" y="25"/>
                  </a:cubicBezTo>
                  <a:cubicBezTo>
                    <a:pt x="10" y="22"/>
                    <a:pt x="12" y="21"/>
                    <a:pt x="16" y="22"/>
                  </a:cubicBezTo>
                  <a:cubicBezTo>
                    <a:pt x="21" y="23"/>
                    <a:pt x="20" y="24"/>
                    <a:pt x="24" y="24"/>
                  </a:cubicBezTo>
                  <a:cubicBezTo>
                    <a:pt x="28" y="23"/>
                    <a:pt x="31" y="25"/>
                    <a:pt x="33" y="28"/>
                  </a:cubicBezTo>
                  <a:cubicBezTo>
                    <a:pt x="35" y="32"/>
                    <a:pt x="37" y="33"/>
                    <a:pt x="41" y="35"/>
                  </a:cubicBezTo>
                  <a:cubicBezTo>
                    <a:pt x="44" y="36"/>
                    <a:pt x="49" y="29"/>
                    <a:pt x="51" y="27"/>
                  </a:cubicBezTo>
                  <a:cubicBezTo>
                    <a:pt x="54" y="25"/>
                    <a:pt x="56" y="20"/>
                    <a:pt x="57" y="17"/>
                  </a:cubicBezTo>
                  <a:cubicBezTo>
                    <a:pt x="57" y="14"/>
                    <a:pt x="58" y="14"/>
                    <a:pt x="62" y="11"/>
                  </a:cubicBezTo>
                  <a:cubicBezTo>
                    <a:pt x="65" y="7"/>
                    <a:pt x="67" y="10"/>
                    <a:pt x="71" y="10"/>
                  </a:cubicBezTo>
                  <a:cubicBezTo>
                    <a:pt x="75" y="10"/>
                    <a:pt x="75" y="8"/>
                    <a:pt x="77" y="4"/>
                  </a:cubicBezTo>
                  <a:cubicBezTo>
                    <a:pt x="77" y="2"/>
                    <a:pt x="77" y="2"/>
                    <a:pt x="77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6"/>
                    <a:pt x="89" y="10"/>
                    <a:pt x="90" y="10"/>
                  </a:cubicBezTo>
                  <a:cubicBezTo>
                    <a:pt x="92" y="10"/>
                    <a:pt x="95" y="10"/>
                    <a:pt x="95" y="8"/>
                  </a:cubicBezTo>
                  <a:cubicBezTo>
                    <a:pt x="95" y="7"/>
                    <a:pt x="97" y="6"/>
                    <a:pt x="97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6" y="9"/>
                    <a:pt x="108" y="16"/>
                    <a:pt x="110" y="18"/>
                  </a:cubicBezTo>
                  <a:cubicBezTo>
                    <a:pt x="111" y="20"/>
                    <a:pt x="110" y="21"/>
                    <a:pt x="109" y="23"/>
                  </a:cubicBezTo>
                  <a:cubicBezTo>
                    <a:pt x="108" y="25"/>
                    <a:pt x="102" y="31"/>
                    <a:pt x="100" y="33"/>
                  </a:cubicBezTo>
                  <a:cubicBezTo>
                    <a:pt x="98" y="35"/>
                    <a:pt x="101" y="39"/>
                    <a:pt x="102" y="43"/>
                  </a:cubicBezTo>
                  <a:cubicBezTo>
                    <a:pt x="104" y="46"/>
                    <a:pt x="102" y="48"/>
                    <a:pt x="100" y="53"/>
                  </a:cubicBezTo>
                  <a:cubicBezTo>
                    <a:pt x="97" y="57"/>
                    <a:pt x="98" y="56"/>
                    <a:pt x="93" y="56"/>
                  </a:cubicBezTo>
                  <a:cubicBezTo>
                    <a:pt x="88" y="56"/>
                    <a:pt x="88" y="53"/>
                    <a:pt x="87" y="52"/>
                  </a:cubicBezTo>
                  <a:cubicBezTo>
                    <a:pt x="86" y="51"/>
                    <a:pt x="81" y="53"/>
                    <a:pt x="81" y="56"/>
                  </a:cubicBezTo>
                  <a:cubicBezTo>
                    <a:pt x="81" y="59"/>
                    <a:pt x="78" y="61"/>
                    <a:pt x="77" y="62"/>
                  </a:cubicBezTo>
                  <a:cubicBezTo>
                    <a:pt x="75" y="64"/>
                    <a:pt x="80" y="65"/>
                    <a:pt x="83" y="67"/>
                  </a:cubicBezTo>
                  <a:cubicBezTo>
                    <a:pt x="85" y="69"/>
                    <a:pt x="85" y="73"/>
                    <a:pt x="84" y="76"/>
                  </a:cubicBezTo>
                  <a:cubicBezTo>
                    <a:pt x="83" y="79"/>
                    <a:pt x="83" y="81"/>
                    <a:pt x="84" y="84"/>
                  </a:cubicBezTo>
                  <a:cubicBezTo>
                    <a:pt x="84" y="87"/>
                    <a:pt x="88" y="91"/>
                    <a:pt x="89" y="91"/>
                  </a:cubicBezTo>
                  <a:cubicBezTo>
                    <a:pt x="91" y="92"/>
                    <a:pt x="91" y="96"/>
                    <a:pt x="91" y="99"/>
                  </a:cubicBezTo>
                  <a:cubicBezTo>
                    <a:pt x="90" y="101"/>
                    <a:pt x="92" y="101"/>
                    <a:pt x="95" y="100"/>
                  </a:cubicBezTo>
                  <a:cubicBezTo>
                    <a:pt x="98" y="99"/>
                    <a:pt x="100" y="98"/>
                    <a:pt x="100" y="101"/>
                  </a:cubicBezTo>
                  <a:cubicBezTo>
                    <a:pt x="100" y="103"/>
                    <a:pt x="99" y="106"/>
                    <a:pt x="96" y="109"/>
                  </a:cubicBezTo>
                  <a:cubicBezTo>
                    <a:pt x="93" y="112"/>
                    <a:pt x="92" y="116"/>
                    <a:pt x="86" y="114"/>
                  </a:cubicBezTo>
                  <a:cubicBezTo>
                    <a:pt x="80" y="113"/>
                    <a:pt x="80" y="114"/>
                    <a:pt x="79" y="116"/>
                  </a:cubicBezTo>
                  <a:cubicBezTo>
                    <a:pt x="78" y="118"/>
                    <a:pt x="77" y="120"/>
                    <a:pt x="74" y="121"/>
                  </a:cubicBezTo>
                  <a:cubicBezTo>
                    <a:pt x="70" y="122"/>
                    <a:pt x="68" y="122"/>
                    <a:pt x="65" y="119"/>
                  </a:cubicBezTo>
                  <a:cubicBezTo>
                    <a:pt x="62" y="117"/>
                    <a:pt x="62" y="110"/>
                    <a:pt x="61" y="107"/>
                  </a:cubicBezTo>
                  <a:cubicBezTo>
                    <a:pt x="61" y="104"/>
                    <a:pt x="54" y="105"/>
                    <a:pt x="54" y="104"/>
                  </a:cubicBezTo>
                  <a:cubicBezTo>
                    <a:pt x="53" y="103"/>
                    <a:pt x="53" y="99"/>
                    <a:pt x="53" y="96"/>
                  </a:cubicBezTo>
                  <a:cubicBezTo>
                    <a:pt x="53" y="93"/>
                    <a:pt x="48" y="96"/>
                    <a:pt x="48" y="98"/>
                  </a:cubicBezTo>
                  <a:cubicBezTo>
                    <a:pt x="48" y="101"/>
                    <a:pt x="44" y="100"/>
                    <a:pt x="41" y="100"/>
                  </a:cubicBezTo>
                  <a:cubicBezTo>
                    <a:pt x="38" y="99"/>
                    <a:pt x="35" y="99"/>
                    <a:pt x="35" y="99"/>
                  </a:cubicBezTo>
                  <a:lnTo>
                    <a:pt x="31" y="10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9" name="Псковская обл.">
              <a:extLst>
                <a:ext uri="{FF2B5EF4-FFF2-40B4-BE49-F238E27FC236}">
                  <a16:creationId xmlns:a16="http://schemas.microsoft.com/office/drawing/2014/main" id="{662DA4E0-F309-CF10-3850-474D139C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719" y="3158955"/>
              <a:ext cx="362679" cy="512403"/>
            </a:xfrm>
            <a:custGeom>
              <a:avLst/>
              <a:gdLst>
                <a:gd name="T0" fmla="*/ 44 w 68"/>
                <a:gd name="T1" fmla="*/ 77 h 108"/>
                <a:gd name="T2" fmla="*/ 42 w 68"/>
                <a:gd name="T3" fmla="*/ 83 h 108"/>
                <a:gd name="T4" fmla="*/ 37 w 68"/>
                <a:gd name="T5" fmla="*/ 86 h 108"/>
                <a:gd name="T6" fmla="*/ 38 w 68"/>
                <a:gd name="T7" fmla="*/ 93 h 108"/>
                <a:gd name="T8" fmla="*/ 34 w 68"/>
                <a:gd name="T9" fmla="*/ 100 h 108"/>
                <a:gd name="T10" fmla="*/ 29 w 68"/>
                <a:gd name="T11" fmla="*/ 102 h 108"/>
                <a:gd name="T12" fmla="*/ 26 w 68"/>
                <a:gd name="T13" fmla="*/ 108 h 108"/>
                <a:gd name="T14" fmla="*/ 23 w 68"/>
                <a:gd name="T15" fmla="*/ 102 h 108"/>
                <a:gd name="T16" fmla="*/ 18 w 68"/>
                <a:gd name="T17" fmla="*/ 102 h 108"/>
                <a:gd name="T18" fmla="*/ 17 w 68"/>
                <a:gd name="T19" fmla="*/ 95 h 108"/>
                <a:gd name="T20" fmla="*/ 10 w 68"/>
                <a:gd name="T21" fmla="*/ 85 h 108"/>
                <a:gd name="T22" fmla="*/ 8 w 68"/>
                <a:gd name="T23" fmla="*/ 79 h 108"/>
                <a:gd name="T24" fmla="*/ 3 w 68"/>
                <a:gd name="T25" fmla="*/ 69 h 108"/>
                <a:gd name="T26" fmla="*/ 1 w 68"/>
                <a:gd name="T27" fmla="*/ 60 h 108"/>
                <a:gd name="T28" fmla="*/ 11 w 68"/>
                <a:gd name="T29" fmla="*/ 49 h 108"/>
                <a:gd name="T30" fmla="*/ 13 w 68"/>
                <a:gd name="T31" fmla="*/ 37 h 108"/>
                <a:gd name="T32" fmla="*/ 24 w 68"/>
                <a:gd name="T33" fmla="*/ 34 h 108"/>
                <a:gd name="T34" fmla="*/ 26 w 68"/>
                <a:gd name="T35" fmla="*/ 21 h 108"/>
                <a:gd name="T36" fmla="*/ 38 w 68"/>
                <a:gd name="T37" fmla="*/ 20 h 108"/>
                <a:gd name="T38" fmla="*/ 44 w 68"/>
                <a:gd name="T39" fmla="*/ 11 h 108"/>
                <a:gd name="T40" fmla="*/ 56 w 68"/>
                <a:gd name="T41" fmla="*/ 1 h 108"/>
                <a:gd name="T42" fmla="*/ 59 w 68"/>
                <a:gd name="T43" fmla="*/ 0 h 108"/>
                <a:gd name="T44" fmla="*/ 63 w 68"/>
                <a:gd name="T45" fmla="*/ 4 h 108"/>
                <a:gd name="T46" fmla="*/ 61 w 68"/>
                <a:gd name="T47" fmla="*/ 8 h 108"/>
                <a:gd name="T48" fmla="*/ 67 w 68"/>
                <a:gd name="T49" fmla="*/ 15 h 108"/>
                <a:gd name="T50" fmla="*/ 68 w 68"/>
                <a:gd name="T51" fmla="*/ 23 h 108"/>
                <a:gd name="T52" fmla="*/ 66 w 68"/>
                <a:gd name="T53" fmla="*/ 29 h 108"/>
                <a:gd name="T54" fmla="*/ 68 w 68"/>
                <a:gd name="T55" fmla="*/ 36 h 108"/>
                <a:gd name="T56" fmla="*/ 63 w 68"/>
                <a:gd name="T57" fmla="*/ 38 h 108"/>
                <a:gd name="T58" fmla="*/ 60 w 68"/>
                <a:gd name="T59" fmla="*/ 41 h 108"/>
                <a:gd name="T60" fmla="*/ 58 w 68"/>
                <a:gd name="T61" fmla="*/ 46 h 108"/>
                <a:gd name="T62" fmla="*/ 62 w 68"/>
                <a:gd name="T63" fmla="*/ 53 h 108"/>
                <a:gd name="T64" fmla="*/ 57 w 68"/>
                <a:gd name="T65" fmla="*/ 59 h 108"/>
                <a:gd name="T66" fmla="*/ 51 w 68"/>
                <a:gd name="T67" fmla="*/ 63 h 108"/>
                <a:gd name="T68" fmla="*/ 50 w 68"/>
                <a:gd name="T69" fmla="*/ 69 h 108"/>
                <a:gd name="T70" fmla="*/ 45 w 68"/>
                <a:gd name="T71" fmla="*/ 70 h 108"/>
                <a:gd name="T72" fmla="*/ 44 w 68"/>
                <a:gd name="T7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" h="108">
                  <a:moveTo>
                    <a:pt x="44" y="77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1"/>
                    <a:pt x="17" y="98"/>
                    <a:pt x="17" y="95"/>
                  </a:cubicBezTo>
                  <a:cubicBezTo>
                    <a:pt x="17" y="88"/>
                    <a:pt x="15" y="86"/>
                    <a:pt x="10" y="85"/>
                  </a:cubicBezTo>
                  <a:cubicBezTo>
                    <a:pt x="6" y="84"/>
                    <a:pt x="5" y="82"/>
                    <a:pt x="8" y="79"/>
                  </a:cubicBezTo>
                  <a:cubicBezTo>
                    <a:pt x="12" y="75"/>
                    <a:pt x="6" y="72"/>
                    <a:pt x="3" y="69"/>
                  </a:cubicBezTo>
                  <a:cubicBezTo>
                    <a:pt x="1" y="66"/>
                    <a:pt x="2" y="62"/>
                    <a:pt x="1" y="60"/>
                  </a:cubicBezTo>
                  <a:cubicBezTo>
                    <a:pt x="0" y="57"/>
                    <a:pt x="7" y="53"/>
                    <a:pt x="11" y="49"/>
                  </a:cubicBezTo>
                  <a:cubicBezTo>
                    <a:pt x="14" y="44"/>
                    <a:pt x="12" y="40"/>
                    <a:pt x="13" y="37"/>
                  </a:cubicBezTo>
                  <a:cubicBezTo>
                    <a:pt x="14" y="35"/>
                    <a:pt x="22" y="36"/>
                    <a:pt x="24" y="34"/>
                  </a:cubicBezTo>
                  <a:cubicBezTo>
                    <a:pt x="25" y="32"/>
                    <a:pt x="26" y="21"/>
                    <a:pt x="26" y="21"/>
                  </a:cubicBezTo>
                  <a:cubicBezTo>
                    <a:pt x="26" y="21"/>
                    <a:pt x="34" y="20"/>
                    <a:pt x="38" y="20"/>
                  </a:cubicBezTo>
                  <a:cubicBezTo>
                    <a:pt x="42" y="19"/>
                    <a:pt x="43" y="16"/>
                    <a:pt x="44" y="11"/>
                  </a:cubicBezTo>
                  <a:cubicBezTo>
                    <a:pt x="44" y="6"/>
                    <a:pt x="50" y="2"/>
                    <a:pt x="56" y="1"/>
                  </a:cubicBezTo>
                  <a:cubicBezTo>
                    <a:pt x="57" y="1"/>
                    <a:pt x="58" y="0"/>
                    <a:pt x="59" y="0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5" y="70"/>
                    <a:pt x="45" y="70"/>
                    <a:pt x="45" y="70"/>
                  </a:cubicBezTo>
                  <a:lnTo>
                    <a:pt x="44" y="7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0" name="Пермский край">
              <a:extLst>
                <a:ext uri="{FF2B5EF4-FFF2-40B4-BE49-F238E27FC236}">
                  <a16:creationId xmlns:a16="http://schemas.microsoft.com/office/drawing/2014/main" id="{154CF0BF-6FBF-CE11-433B-ABA00FDC8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6814" y="4069894"/>
              <a:ext cx="738128" cy="751524"/>
            </a:xfrm>
            <a:custGeom>
              <a:avLst/>
              <a:gdLst>
                <a:gd name="T0" fmla="*/ 64 w 289"/>
                <a:gd name="T1" fmla="*/ 32 h 330"/>
                <a:gd name="T2" fmla="*/ 68 w 289"/>
                <a:gd name="T3" fmla="*/ 19 h 330"/>
                <a:gd name="T4" fmla="*/ 68 w 289"/>
                <a:gd name="T5" fmla="*/ 3 h 330"/>
                <a:gd name="T6" fmla="*/ 89 w 289"/>
                <a:gd name="T7" fmla="*/ 5 h 330"/>
                <a:gd name="T8" fmla="*/ 100 w 289"/>
                <a:gd name="T9" fmla="*/ 0 h 330"/>
                <a:gd name="T10" fmla="*/ 110 w 289"/>
                <a:gd name="T11" fmla="*/ 23 h 330"/>
                <a:gd name="T12" fmla="*/ 131 w 289"/>
                <a:gd name="T13" fmla="*/ 25 h 330"/>
                <a:gd name="T14" fmla="*/ 162 w 289"/>
                <a:gd name="T15" fmla="*/ 36 h 330"/>
                <a:gd name="T16" fmla="*/ 183 w 289"/>
                <a:gd name="T17" fmla="*/ 34 h 330"/>
                <a:gd name="T18" fmla="*/ 198 w 289"/>
                <a:gd name="T19" fmla="*/ 42 h 330"/>
                <a:gd name="T20" fmla="*/ 225 w 289"/>
                <a:gd name="T21" fmla="*/ 36 h 330"/>
                <a:gd name="T22" fmla="*/ 287 w 289"/>
                <a:gd name="T23" fmla="*/ 59 h 330"/>
                <a:gd name="T24" fmla="*/ 275 w 289"/>
                <a:gd name="T25" fmla="*/ 80 h 330"/>
                <a:gd name="T26" fmla="*/ 264 w 289"/>
                <a:gd name="T27" fmla="*/ 111 h 330"/>
                <a:gd name="T28" fmla="*/ 218 w 289"/>
                <a:gd name="T29" fmla="*/ 151 h 330"/>
                <a:gd name="T30" fmla="*/ 208 w 289"/>
                <a:gd name="T31" fmla="*/ 180 h 330"/>
                <a:gd name="T32" fmla="*/ 216 w 289"/>
                <a:gd name="T33" fmla="*/ 205 h 330"/>
                <a:gd name="T34" fmla="*/ 214 w 289"/>
                <a:gd name="T35" fmla="*/ 230 h 330"/>
                <a:gd name="T36" fmla="*/ 185 w 289"/>
                <a:gd name="T37" fmla="*/ 244 h 330"/>
                <a:gd name="T38" fmla="*/ 179 w 289"/>
                <a:gd name="T39" fmla="*/ 265 h 330"/>
                <a:gd name="T40" fmla="*/ 154 w 289"/>
                <a:gd name="T41" fmla="*/ 265 h 330"/>
                <a:gd name="T42" fmla="*/ 137 w 289"/>
                <a:gd name="T43" fmla="*/ 288 h 330"/>
                <a:gd name="T44" fmla="*/ 106 w 289"/>
                <a:gd name="T45" fmla="*/ 292 h 330"/>
                <a:gd name="T46" fmla="*/ 87 w 289"/>
                <a:gd name="T47" fmla="*/ 328 h 330"/>
                <a:gd name="T48" fmla="*/ 68 w 289"/>
                <a:gd name="T49" fmla="*/ 328 h 330"/>
                <a:gd name="T50" fmla="*/ 50 w 289"/>
                <a:gd name="T51" fmla="*/ 307 h 330"/>
                <a:gd name="T52" fmla="*/ 31 w 289"/>
                <a:gd name="T53" fmla="*/ 294 h 330"/>
                <a:gd name="T54" fmla="*/ 16 w 289"/>
                <a:gd name="T55" fmla="*/ 273 h 330"/>
                <a:gd name="T56" fmla="*/ 6 w 289"/>
                <a:gd name="T57" fmla="*/ 276 h 330"/>
                <a:gd name="T58" fmla="*/ 0 w 289"/>
                <a:gd name="T59" fmla="*/ 248 h 330"/>
                <a:gd name="T60" fmla="*/ 29 w 289"/>
                <a:gd name="T61" fmla="*/ 213 h 330"/>
                <a:gd name="T62" fmla="*/ 41 w 289"/>
                <a:gd name="T63" fmla="*/ 186 h 330"/>
                <a:gd name="T64" fmla="*/ 31 w 289"/>
                <a:gd name="T65" fmla="*/ 151 h 330"/>
                <a:gd name="T66" fmla="*/ 60 w 289"/>
                <a:gd name="T67" fmla="*/ 142 h 330"/>
                <a:gd name="T68" fmla="*/ 62 w 289"/>
                <a:gd name="T69" fmla="*/ 117 h 330"/>
                <a:gd name="T70" fmla="*/ 66 w 289"/>
                <a:gd name="T71" fmla="*/ 96 h 330"/>
                <a:gd name="T72" fmla="*/ 91 w 289"/>
                <a:gd name="T73" fmla="*/ 61 h 330"/>
                <a:gd name="T74" fmla="*/ 56 w 289"/>
                <a:gd name="T75" fmla="*/ 3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30">
                  <a:moveTo>
                    <a:pt x="56" y="34"/>
                  </a:moveTo>
                  <a:lnTo>
                    <a:pt x="64" y="32"/>
                  </a:lnTo>
                  <a:lnTo>
                    <a:pt x="68" y="28"/>
                  </a:lnTo>
                  <a:lnTo>
                    <a:pt x="68" y="19"/>
                  </a:lnTo>
                  <a:lnTo>
                    <a:pt x="62" y="15"/>
                  </a:lnTo>
                  <a:lnTo>
                    <a:pt x="68" y="3"/>
                  </a:lnTo>
                  <a:lnTo>
                    <a:pt x="85" y="9"/>
                  </a:lnTo>
                  <a:lnTo>
                    <a:pt x="89" y="5"/>
                  </a:lnTo>
                  <a:lnTo>
                    <a:pt x="93" y="7"/>
                  </a:lnTo>
                  <a:lnTo>
                    <a:pt x="100" y="0"/>
                  </a:lnTo>
                  <a:lnTo>
                    <a:pt x="112" y="9"/>
                  </a:lnTo>
                  <a:lnTo>
                    <a:pt x="110" y="23"/>
                  </a:lnTo>
                  <a:lnTo>
                    <a:pt x="120" y="30"/>
                  </a:lnTo>
                  <a:lnTo>
                    <a:pt x="131" y="25"/>
                  </a:lnTo>
                  <a:lnTo>
                    <a:pt x="152" y="42"/>
                  </a:lnTo>
                  <a:lnTo>
                    <a:pt x="162" y="36"/>
                  </a:lnTo>
                  <a:lnTo>
                    <a:pt x="177" y="44"/>
                  </a:lnTo>
                  <a:lnTo>
                    <a:pt x="183" y="34"/>
                  </a:lnTo>
                  <a:lnTo>
                    <a:pt x="191" y="38"/>
                  </a:lnTo>
                  <a:lnTo>
                    <a:pt x="198" y="42"/>
                  </a:lnTo>
                  <a:lnTo>
                    <a:pt x="208" y="30"/>
                  </a:lnTo>
                  <a:lnTo>
                    <a:pt x="225" y="36"/>
                  </a:lnTo>
                  <a:lnTo>
                    <a:pt x="262" y="57"/>
                  </a:lnTo>
                  <a:lnTo>
                    <a:pt x="287" y="59"/>
                  </a:lnTo>
                  <a:lnTo>
                    <a:pt x="289" y="73"/>
                  </a:lnTo>
                  <a:lnTo>
                    <a:pt x="275" y="80"/>
                  </a:lnTo>
                  <a:lnTo>
                    <a:pt x="275" y="98"/>
                  </a:lnTo>
                  <a:lnTo>
                    <a:pt x="264" y="111"/>
                  </a:lnTo>
                  <a:lnTo>
                    <a:pt x="237" y="151"/>
                  </a:lnTo>
                  <a:lnTo>
                    <a:pt x="218" y="151"/>
                  </a:lnTo>
                  <a:lnTo>
                    <a:pt x="210" y="163"/>
                  </a:lnTo>
                  <a:lnTo>
                    <a:pt x="208" y="180"/>
                  </a:lnTo>
                  <a:lnTo>
                    <a:pt x="216" y="190"/>
                  </a:lnTo>
                  <a:lnTo>
                    <a:pt x="216" y="205"/>
                  </a:lnTo>
                  <a:lnTo>
                    <a:pt x="204" y="217"/>
                  </a:lnTo>
                  <a:lnTo>
                    <a:pt x="214" y="230"/>
                  </a:lnTo>
                  <a:lnTo>
                    <a:pt x="200" y="244"/>
                  </a:lnTo>
                  <a:lnTo>
                    <a:pt x="185" y="244"/>
                  </a:lnTo>
                  <a:lnTo>
                    <a:pt x="170" y="253"/>
                  </a:lnTo>
                  <a:lnTo>
                    <a:pt x="179" y="265"/>
                  </a:lnTo>
                  <a:lnTo>
                    <a:pt x="166" y="276"/>
                  </a:lnTo>
                  <a:lnTo>
                    <a:pt x="154" y="265"/>
                  </a:lnTo>
                  <a:lnTo>
                    <a:pt x="143" y="269"/>
                  </a:lnTo>
                  <a:lnTo>
                    <a:pt x="137" y="288"/>
                  </a:lnTo>
                  <a:lnTo>
                    <a:pt x="127" y="294"/>
                  </a:lnTo>
                  <a:lnTo>
                    <a:pt x="106" y="292"/>
                  </a:lnTo>
                  <a:lnTo>
                    <a:pt x="102" y="311"/>
                  </a:lnTo>
                  <a:lnTo>
                    <a:pt x="87" y="328"/>
                  </a:lnTo>
                  <a:lnTo>
                    <a:pt x="87" y="330"/>
                  </a:lnTo>
                  <a:lnTo>
                    <a:pt x="68" y="328"/>
                  </a:lnTo>
                  <a:lnTo>
                    <a:pt x="62" y="307"/>
                  </a:lnTo>
                  <a:lnTo>
                    <a:pt x="50" y="307"/>
                  </a:lnTo>
                  <a:lnTo>
                    <a:pt x="43" y="292"/>
                  </a:lnTo>
                  <a:lnTo>
                    <a:pt x="31" y="294"/>
                  </a:lnTo>
                  <a:lnTo>
                    <a:pt x="16" y="284"/>
                  </a:lnTo>
                  <a:lnTo>
                    <a:pt x="16" y="273"/>
                  </a:lnTo>
                  <a:lnTo>
                    <a:pt x="8" y="273"/>
                  </a:lnTo>
                  <a:lnTo>
                    <a:pt x="6" y="276"/>
                  </a:lnTo>
                  <a:lnTo>
                    <a:pt x="0" y="261"/>
                  </a:lnTo>
                  <a:lnTo>
                    <a:pt x="0" y="248"/>
                  </a:lnTo>
                  <a:lnTo>
                    <a:pt x="25" y="240"/>
                  </a:lnTo>
                  <a:lnTo>
                    <a:pt x="29" y="213"/>
                  </a:lnTo>
                  <a:lnTo>
                    <a:pt x="31" y="196"/>
                  </a:lnTo>
                  <a:lnTo>
                    <a:pt x="41" y="186"/>
                  </a:lnTo>
                  <a:lnTo>
                    <a:pt x="43" y="153"/>
                  </a:lnTo>
                  <a:lnTo>
                    <a:pt x="31" y="151"/>
                  </a:lnTo>
                  <a:lnTo>
                    <a:pt x="47" y="155"/>
                  </a:lnTo>
                  <a:lnTo>
                    <a:pt x="60" y="142"/>
                  </a:lnTo>
                  <a:lnTo>
                    <a:pt x="62" y="126"/>
                  </a:lnTo>
                  <a:lnTo>
                    <a:pt x="62" y="117"/>
                  </a:lnTo>
                  <a:lnTo>
                    <a:pt x="58" y="109"/>
                  </a:lnTo>
                  <a:lnTo>
                    <a:pt x="66" y="96"/>
                  </a:lnTo>
                  <a:lnTo>
                    <a:pt x="91" y="75"/>
                  </a:lnTo>
                  <a:lnTo>
                    <a:pt x="91" y="61"/>
                  </a:lnTo>
                  <a:lnTo>
                    <a:pt x="79" y="50"/>
                  </a:lnTo>
                  <a:lnTo>
                    <a:pt x="56" y="3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1" name="Пензенская обл.">
              <a:extLst>
                <a:ext uri="{FF2B5EF4-FFF2-40B4-BE49-F238E27FC236}">
                  <a16:creationId xmlns:a16="http://schemas.microsoft.com/office/drawing/2014/main" id="{46719F2A-71EA-50F9-3B9E-98F648EAE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060" y="4450210"/>
              <a:ext cx="378004" cy="355265"/>
            </a:xfrm>
            <a:custGeom>
              <a:avLst/>
              <a:gdLst>
                <a:gd name="T0" fmla="*/ 0 w 71"/>
                <a:gd name="T1" fmla="*/ 37 h 75"/>
                <a:gd name="T2" fmla="*/ 0 w 71"/>
                <a:gd name="T3" fmla="*/ 36 h 75"/>
                <a:gd name="T4" fmla="*/ 8 w 71"/>
                <a:gd name="T5" fmla="*/ 37 h 75"/>
                <a:gd name="T6" fmla="*/ 8 w 71"/>
                <a:gd name="T7" fmla="*/ 27 h 75"/>
                <a:gd name="T8" fmla="*/ 5 w 71"/>
                <a:gd name="T9" fmla="*/ 22 h 75"/>
                <a:gd name="T10" fmla="*/ 7 w 71"/>
                <a:gd name="T11" fmla="*/ 12 h 75"/>
                <a:gd name="T12" fmla="*/ 6 w 71"/>
                <a:gd name="T13" fmla="*/ 6 h 75"/>
                <a:gd name="T14" fmla="*/ 12 w 71"/>
                <a:gd name="T15" fmla="*/ 0 h 75"/>
                <a:gd name="T16" fmla="*/ 16 w 71"/>
                <a:gd name="T17" fmla="*/ 0 h 75"/>
                <a:gd name="T18" fmla="*/ 18 w 71"/>
                <a:gd name="T19" fmla="*/ 5 h 75"/>
                <a:gd name="T20" fmla="*/ 22 w 71"/>
                <a:gd name="T21" fmla="*/ 5 h 75"/>
                <a:gd name="T22" fmla="*/ 27 w 71"/>
                <a:gd name="T23" fmla="*/ 9 h 75"/>
                <a:gd name="T24" fmla="*/ 34 w 71"/>
                <a:gd name="T25" fmla="*/ 10 h 75"/>
                <a:gd name="T26" fmla="*/ 39 w 71"/>
                <a:gd name="T27" fmla="*/ 14 h 75"/>
                <a:gd name="T28" fmla="*/ 39 w 71"/>
                <a:gd name="T29" fmla="*/ 22 h 75"/>
                <a:gd name="T30" fmla="*/ 45 w 71"/>
                <a:gd name="T31" fmla="*/ 28 h 75"/>
                <a:gd name="T32" fmla="*/ 49 w 71"/>
                <a:gd name="T33" fmla="*/ 27 h 75"/>
                <a:gd name="T34" fmla="*/ 56 w 71"/>
                <a:gd name="T35" fmla="*/ 28 h 75"/>
                <a:gd name="T36" fmla="*/ 62 w 71"/>
                <a:gd name="T37" fmla="*/ 34 h 75"/>
                <a:gd name="T38" fmla="*/ 69 w 71"/>
                <a:gd name="T39" fmla="*/ 36 h 75"/>
                <a:gd name="T40" fmla="*/ 71 w 71"/>
                <a:gd name="T41" fmla="*/ 43 h 75"/>
                <a:gd name="T42" fmla="*/ 69 w 71"/>
                <a:gd name="T43" fmla="*/ 49 h 75"/>
                <a:gd name="T44" fmla="*/ 67 w 71"/>
                <a:gd name="T45" fmla="*/ 55 h 75"/>
                <a:gd name="T46" fmla="*/ 71 w 71"/>
                <a:gd name="T47" fmla="*/ 58 h 75"/>
                <a:gd name="T48" fmla="*/ 68 w 71"/>
                <a:gd name="T49" fmla="*/ 64 h 75"/>
                <a:gd name="T50" fmla="*/ 59 w 71"/>
                <a:gd name="T51" fmla="*/ 75 h 75"/>
                <a:gd name="T52" fmla="*/ 55 w 71"/>
                <a:gd name="T53" fmla="*/ 71 h 75"/>
                <a:gd name="T54" fmla="*/ 52 w 71"/>
                <a:gd name="T55" fmla="*/ 72 h 75"/>
                <a:gd name="T56" fmla="*/ 46 w 71"/>
                <a:gd name="T57" fmla="*/ 73 h 75"/>
                <a:gd name="T58" fmla="*/ 28 w 71"/>
                <a:gd name="T59" fmla="*/ 62 h 75"/>
                <a:gd name="T60" fmla="*/ 24 w 71"/>
                <a:gd name="T61" fmla="*/ 56 h 75"/>
                <a:gd name="T62" fmla="*/ 17 w 71"/>
                <a:gd name="T63" fmla="*/ 56 h 75"/>
                <a:gd name="T64" fmla="*/ 6 w 71"/>
                <a:gd name="T65" fmla="*/ 49 h 75"/>
                <a:gd name="T66" fmla="*/ 6 w 71"/>
                <a:gd name="T67" fmla="*/ 44 h 75"/>
                <a:gd name="T68" fmla="*/ 3 w 71"/>
                <a:gd name="T69" fmla="*/ 42 h 75"/>
                <a:gd name="T70" fmla="*/ 0 w 71"/>
                <a:gd name="T71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5"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1" y="42"/>
                    <a:pt x="71" y="43"/>
                  </a:cubicBezTo>
                  <a:cubicBezTo>
                    <a:pt x="71" y="43"/>
                    <a:pt x="69" y="49"/>
                    <a:pt x="69" y="49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3" y="42"/>
                    <a:pt x="3" y="42"/>
                    <a:pt x="3" y="42"/>
                  </a:cubicBezTo>
                  <a:lnTo>
                    <a:pt x="0" y="3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2" name="Орловская обл.">
              <a:extLst>
                <a:ext uri="{FF2B5EF4-FFF2-40B4-BE49-F238E27FC236}">
                  <a16:creationId xmlns:a16="http://schemas.microsoft.com/office/drawing/2014/main" id="{BAD6227E-2795-B52E-47DA-202BB92C0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85" y="4113163"/>
              <a:ext cx="275840" cy="275558"/>
            </a:xfrm>
            <a:custGeom>
              <a:avLst/>
              <a:gdLst>
                <a:gd name="T0" fmla="*/ 0 w 108"/>
                <a:gd name="T1" fmla="*/ 38 h 121"/>
                <a:gd name="T2" fmla="*/ 2 w 108"/>
                <a:gd name="T3" fmla="*/ 29 h 121"/>
                <a:gd name="T4" fmla="*/ 14 w 108"/>
                <a:gd name="T5" fmla="*/ 25 h 121"/>
                <a:gd name="T6" fmla="*/ 14 w 108"/>
                <a:gd name="T7" fmla="*/ 13 h 121"/>
                <a:gd name="T8" fmla="*/ 27 w 108"/>
                <a:gd name="T9" fmla="*/ 9 h 121"/>
                <a:gd name="T10" fmla="*/ 33 w 108"/>
                <a:gd name="T11" fmla="*/ 17 h 121"/>
                <a:gd name="T12" fmla="*/ 39 w 108"/>
                <a:gd name="T13" fmla="*/ 13 h 121"/>
                <a:gd name="T14" fmla="*/ 39 w 108"/>
                <a:gd name="T15" fmla="*/ 2 h 121"/>
                <a:gd name="T16" fmla="*/ 45 w 108"/>
                <a:gd name="T17" fmla="*/ 0 h 121"/>
                <a:gd name="T18" fmla="*/ 60 w 108"/>
                <a:gd name="T19" fmla="*/ 6 h 121"/>
                <a:gd name="T20" fmla="*/ 75 w 108"/>
                <a:gd name="T21" fmla="*/ 6 h 121"/>
                <a:gd name="T22" fmla="*/ 79 w 108"/>
                <a:gd name="T23" fmla="*/ 11 h 121"/>
                <a:gd name="T24" fmla="*/ 81 w 108"/>
                <a:gd name="T25" fmla="*/ 27 h 121"/>
                <a:gd name="T26" fmla="*/ 95 w 108"/>
                <a:gd name="T27" fmla="*/ 50 h 121"/>
                <a:gd name="T28" fmla="*/ 108 w 108"/>
                <a:gd name="T29" fmla="*/ 59 h 121"/>
                <a:gd name="T30" fmla="*/ 108 w 108"/>
                <a:gd name="T31" fmla="*/ 82 h 121"/>
                <a:gd name="T32" fmla="*/ 95 w 108"/>
                <a:gd name="T33" fmla="*/ 84 h 121"/>
                <a:gd name="T34" fmla="*/ 89 w 108"/>
                <a:gd name="T35" fmla="*/ 96 h 121"/>
                <a:gd name="T36" fmla="*/ 79 w 108"/>
                <a:gd name="T37" fmla="*/ 104 h 121"/>
                <a:gd name="T38" fmla="*/ 83 w 108"/>
                <a:gd name="T39" fmla="*/ 111 h 121"/>
                <a:gd name="T40" fmla="*/ 79 w 108"/>
                <a:gd name="T41" fmla="*/ 115 h 121"/>
                <a:gd name="T42" fmla="*/ 60 w 108"/>
                <a:gd name="T43" fmla="*/ 121 h 121"/>
                <a:gd name="T44" fmla="*/ 60 w 108"/>
                <a:gd name="T45" fmla="*/ 121 h 121"/>
                <a:gd name="T46" fmla="*/ 43 w 108"/>
                <a:gd name="T47" fmla="*/ 111 h 121"/>
                <a:gd name="T48" fmla="*/ 41 w 108"/>
                <a:gd name="T49" fmla="*/ 96 h 121"/>
                <a:gd name="T50" fmla="*/ 33 w 108"/>
                <a:gd name="T51" fmla="*/ 77 h 121"/>
                <a:gd name="T52" fmla="*/ 27 w 108"/>
                <a:gd name="T53" fmla="*/ 63 h 121"/>
                <a:gd name="T54" fmla="*/ 18 w 108"/>
                <a:gd name="T55" fmla="*/ 63 h 121"/>
                <a:gd name="T56" fmla="*/ 14 w 108"/>
                <a:gd name="T57" fmla="*/ 46 h 121"/>
                <a:gd name="T58" fmla="*/ 0 w 108"/>
                <a:gd name="T59" fmla="*/ 38 h 121"/>
                <a:gd name="T60" fmla="*/ 0 w 108"/>
                <a:gd name="T61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1">
                  <a:moveTo>
                    <a:pt x="0" y="38"/>
                  </a:moveTo>
                  <a:lnTo>
                    <a:pt x="2" y="29"/>
                  </a:lnTo>
                  <a:lnTo>
                    <a:pt x="14" y="25"/>
                  </a:lnTo>
                  <a:lnTo>
                    <a:pt x="14" y="13"/>
                  </a:lnTo>
                  <a:lnTo>
                    <a:pt x="27" y="9"/>
                  </a:lnTo>
                  <a:lnTo>
                    <a:pt x="33" y="17"/>
                  </a:lnTo>
                  <a:lnTo>
                    <a:pt x="39" y="1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60" y="6"/>
                  </a:lnTo>
                  <a:lnTo>
                    <a:pt x="75" y="6"/>
                  </a:lnTo>
                  <a:lnTo>
                    <a:pt x="79" y="11"/>
                  </a:lnTo>
                  <a:lnTo>
                    <a:pt x="81" y="27"/>
                  </a:lnTo>
                  <a:lnTo>
                    <a:pt x="95" y="50"/>
                  </a:lnTo>
                  <a:lnTo>
                    <a:pt x="108" y="59"/>
                  </a:lnTo>
                  <a:lnTo>
                    <a:pt x="108" y="82"/>
                  </a:lnTo>
                  <a:lnTo>
                    <a:pt x="95" y="84"/>
                  </a:lnTo>
                  <a:lnTo>
                    <a:pt x="89" y="96"/>
                  </a:lnTo>
                  <a:lnTo>
                    <a:pt x="79" y="104"/>
                  </a:lnTo>
                  <a:lnTo>
                    <a:pt x="83" y="111"/>
                  </a:lnTo>
                  <a:lnTo>
                    <a:pt x="79" y="115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43" y="111"/>
                  </a:lnTo>
                  <a:lnTo>
                    <a:pt x="41" y="96"/>
                  </a:lnTo>
                  <a:lnTo>
                    <a:pt x="33" y="77"/>
                  </a:lnTo>
                  <a:lnTo>
                    <a:pt x="27" y="63"/>
                  </a:lnTo>
                  <a:lnTo>
                    <a:pt x="18" y="63"/>
                  </a:lnTo>
                  <a:lnTo>
                    <a:pt x="14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3" name="Оренбургская обл.">
              <a:extLst>
                <a:ext uri="{FF2B5EF4-FFF2-40B4-BE49-F238E27FC236}">
                  <a16:creationId xmlns:a16="http://schemas.microsoft.com/office/drawing/2014/main" id="{5F3B0C82-8328-8847-654D-AAB39AFC2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3403" y="4869242"/>
              <a:ext cx="899035" cy="776576"/>
            </a:xfrm>
            <a:custGeom>
              <a:avLst/>
              <a:gdLst>
                <a:gd name="T0" fmla="*/ 150 w 169"/>
                <a:gd name="T1" fmla="*/ 121 h 164"/>
                <a:gd name="T2" fmla="*/ 165 w 169"/>
                <a:gd name="T3" fmla="*/ 144 h 164"/>
                <a:gd name="T4" fmla="*/ 154 w 169"/>
                <a:gd name="T5" fmla="*/ 163 h 164"/>
                <a:gd name="T6" fmla="*/ 135 w 169"/>
                <a:gd name="T7" fmla="*/ 151 h 164"/>
                <a:gd name="T8" fmla="*/ 117 w 169"/>
                <a:gd name="T9" fmla="*/ 145 h 164"/>
                <a:gd name="T10" fmla="*/ 108 w 169"/>
                <a:gd name="T11" fmla="*/ 130 h 164"/>
                <a:gd name="T12" fmla="*/ 92 w 169"/>
                <a:gd name="T13" fmla="*/ 132 h 164"/>
                <a:gd name="T14" fmla="*/ 74 w 169"/>
                <a:gd name="T15" fmla="*/ 120 h 164"/>
                <a:gd name="T16" fmla="*/ 53 w 169"/>
                <a:gd name="T17" fmla="*/ 108 h 164"/>
                <a:gd name="T18" fmla="*/ 40 w 169"/>
                <a:gd name="T19" fmla="*/ 110 h 164"/>
                <a:gd name="T20" fmla="*/ 38 w 169"/>
                <a:gd name="T21" fmla="*/ 86 h 164"/>
                <a:gd name="T22" fmla="*/ 24 w 169"/>
                <a:gd name="T23" fmla="*/ 66 h 164"/>
                <a:gd name="T24" fmla="*/ 7 w 169"/>
                <a:gd name="T25" fmla="*/ 61 h 164"/>
                <a:gd name="T26" fmla="*/ 0 w 169"/>
                <a:gd name="T27" fmla="*/ 50 h 164"/>
                <a:gd name="T28" fmla="*/ 0 w 169"/>
                <a:gd name="T29" fmla="*/ 46 h 164"/>
                <a:gd name="T30" fmla="*/ 14 w 169"/>
                <a:gd name="T31" fmla="*/ 46 h 164"/>
                <a:gd name="T32" fmla="*/ 27 w 169"/>
                <a:gd name="T33" fmla="*/ 36 h 164"/>
                <a:gd name="T34" fmla="*/ 37 w 169"/>
                <a:gd name="T35" fmla="*/ 31 h 164"/>
                <a:gd name="T36" fmla="*/ 55 w 169"/>
                <a:gd name="T37" fmla="*/ 11 h 164"/>
                <a:gd name="T38" fmla="*/ 59 w 169"/>
                <a:gd name="T39" fmla="*/ 0 h 164"/>
                <a:gd name="T40" fmla="*/ 69 w 169"/>
                <a:gd name="T41" fmla="*/ 5 h 164"/>
                <a:gd name="T42" fmla="*/ 71 w 169"/>
                <a:gd name="T43" fmla="*/ 14 h 164"/>
                <a:gd name="T44" fmla="*/ 75 w 169"/>
                <a:gd name="T45" fmla="*/ 29 h 164"/>
                <a:gd name="T46" fmla="*/ 72 w 169"/>
                <a:gd name="T47" fmla="*/ 36 h 164"/>
                <a:gd name="T48" fmla="*/ 84 w 169"/>
                <a:gd name="T49" fmla="*/ 51 h 164"/>
                <a:gd name="T50" fmla="*/ 86 w 169"/>
                <a:gd name="T51" fmla="*/ 66 h 164"/>
                <a:gd name="T52" fmla="*/ 83 w 169"/>
                <a:gd name="T53" fmla="*/ 77 h 164"/>
                <a:gd name="T54" fmla="*/ 92 w 169"/>
                <a:gd name="T55" fmla="*/ 78 h 164"/>
                <a:gd name="T56" fmla="*/ 98 w 169"/>
                <a:gd name="T57" fmla="*/ 84 h 164"/>
                <a:gd name="T58" fmla="*/ 90 w 169"/>
                <a:gd name="T59" fmla="*/ 91 h 164"/>
                <a:gd name="T60" fmla="*/ 92 w 169"/>
                <a:gd name="T61" fmla="*/ 98 h 164"/>
                <a:gd name="T62" fmla="*/ 94 w 169"/>
                <a:gd name="T63" fmla="*/ 106 h 164"/>
                <a:gd name="T64" fmla="*/ 104 w 169"/>
                <a:gd name="T65" fmla="*/ 112 h 164"/>
                <a:gd name="T66" fmla="*/ 119 w 169"/>
                <a:gd name="T67" fmla="*/ 116 h 164"/>
                <a:gd name="T68" fmla="*/ 130 w 169"/>
                <a:gd name="T69" fmla="*/ 104 h 164"/>
                <a:gd name="T70" fmla="*/ 139 w 169"/>
                <a:gd name="T71" fmla="*/ 107 h 164"/>
                <a:gd name="T72" fmla="*/ 152 w 169"/>
                <a:gd name="T73" fmla="*/ 107 h 164"/>
                <a:gd name="T74" fmla="*/ 151 w 169"/>
                <a:gd name="T75" fmla="*/ 117 h 164"/>
                <a:gd name="T76" fmla="*/ 151 w 169"/>
                <a:gd name="T77" fmla="*/ 12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4">
                  <a:moveTo>
                    <a:pt x="151" y="121"/>
                  </a:moveTo>
                  <a:cubicBezTo>
                    <a:pt x="151" y="121"/>
                    <a:pt x="151" y="121"/>
                    <a:pt x="150" y="121"/>
                  </a:cubicBezTo>
                  <a:cubicBezTo>
                    <a:pt x="147" y="123"/>
                    <a:pt x="155" y="130"/>
                    <a:pt x="157" y="134"/>
                  </a:cubicBezTo>
                  <a:cubicBezTo>
                    <a:pt x="159" y="137"/>
                    <a:pt x="161" y="140"/>
                    <a:pt x="165" y="144"/>
                  </a:cubicBezTo>
                  <a:cubicBezTo>
                    <a:pt x="169" y="148"/>
                    <a:pt x="167" y="151"/>
                    <a:pt x="164" y="155"/>
                  </a:cubicBezTo>
                  <a:cubicBezTo>
                    <a:pt x="162" y="160"/>
                    <a:pt x="161" y="164"/>
                    <a:pt x="154" y="163"/>
                  </a:cubicBezTo>
                  <a:cubicBezTo>
                    <a:pt x="147" y="162"/>
                    <a:pt x="139" y="159"/>
                    <a:pt x="139" y="156"/>
                  </a:cubicBezTo>
                  <a:cubicBezTo>
                    <a:pt x="139" y="154"/>
                    <a:pt x="137" y="151"/>
                    <a:pt x="135" y="151"/>
                  </a:cubicBezTo>
                  <a:cubicBezTo>
                    <a:pt x="134" y="151"/>
                    <a:pt x="132" y="155"/>
                    <a:pt x="129" y="155"/>
                  </a:cubicBezTo>
                  <a:cubicBezTo>
                    <a:pt x="127" y="155"/>
                    <a:pt x="119" y="148"/>
                    <a:pt x="117" y="145"/>
                  </a:cubicBezTo>
                  <a:cubicBezTo>
                    <a:pt x="115" y="142"/>
                    <a:pt x="113" y="141"/>
                    <a:pt x="115" y="136"/>
                  </a:cubicBezTo>
                  <a:cubicBezTo>
                    <a:pt x="117" y="132"/>
                    <a:pt x="111" y="134"/>
                    <a:pt x="108" y="130"/>
                  </a:cubicBezTo>
                  <a:cubicBezTo>
                    <a:pt x="105" y="127"/>
                    <a:pt x="103" y="127"/>
                    <a:pt x="102" y="129"/>
                  </a:cubicBezTo>
                  <a:cubicBezTo>
                    <a:pt x="101" y="132"/>
                    <a:pt x="92" y="135"/>
                    <a:pt x="92" y="132"/>
                  </a:cubicBezTo>
                  <a:cubicBezTo>
                    <a:pt x="91" y="129"/>
                    <a:pt x="90" y="124"/>
                    <a:pt x="88" y="121"/>
                  </a:cubicBezTo>
                  <a:cubicBezTo>
                    <a:pt x="85" y="117"/>
                    <a:pt x="79" y="116"/>
                    <a:pt x="74" y="120"/>
                  </a:cubicBezTo>
                  <a:cubicBezTo>
                    <a:pt x="69" y="123"/>
                    <a:pt x="60" y="126"/>
                    <a:pt x="60" y="123"/>
                  </a:cubicBezTo>
                  <a:cubicBezTo>
                    <a:pt x="59" y="119"/>
                    <a:pt x="53" y="112"/>
                    <a:pt x="53" y="108"/>
                  </a:cubicBezTo>
                  <a:cubicBezTo>
                    <a:pt x="52" y="104"/>
                    <a:pt x="47" y="104"/>
                    <a:pt x="46" y="109"/>
                  </a:cubicBezTo>
                  <a:cubicBezTo>
                    <a:pt x="46" y="114"/>
                    <a:pt x="38" y="116"/>
                    <a:pt x="40" y="110"/>
                  </a:cubicBezTo>
                  <a:cubicBezTo>
                    <a:pt x="42" y="104"/>
                    <a:pt x="43" y="102"/>
                    <a:pt x="42" y="100"/>
                  </a:cubicBezTo>
                  <a:cubicBezTo>
                    <a:pt x="41" y="97"/>
                    <a:pt x="39" y="91"/>
                    <a:pt x="38" y="86"/>
                  </a:cubicBezTo>
                  <a:cubicBezTo>
                    <a:pt x="38" y="80"/>
                    <a:pt x="35" y="80"/>
                    <a:pt x="28" y="76"/>
                  </a:cubicBezTo>
                  <a:cubicBezTo>
                    <a:pt x="20" y="71"/>
                    <a:pt x="24" y="70"/>
                    <a:pt x="24" y="66"/>
                  </a:cubicBezTo>
                  <a:cubicBezTo>
                    <a:pt x="24" y="62"/>
                    <a:pt x="19" y="61"/>
                    <a:pt x="15" y="62"/>
                  </a:cubicBezTo>
                  <a:cubicBezTo>
                    <a:pt x="12" y="63"/>
                    <a:pt x="7" y="64"/>
                    <a:pt x="7" y="61"/>
                  </a:cubicBezTo>
                  <a:cubicBezTo>
                    <a:pt x="6" y="59"/>
                    <a:pt x="7" y="57"/>
                    <a:pt x="3" y="52"/>
                  </a:cubicBezTo>
                  <a:cubicBezTo>
                    <a:pt x="2" y="51"/>
                    <a:pt x="1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7" y="92"/>
                    <a:pt x="96" y="93"/>
                  </a:cubicBezTo>
                  <a:cubicBezTo>
                    <a:pt x="96" y="94"/>
                    <a:pt x="92" y="98"/>
                    <a:pt x="92" y="9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9" y="105"/>
                    <a:pt x="129" y="105"/>
                    <a:pt x="129" y="105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8" y="119"/>
                    <a:pt x="148" y="119"/>
                    <a:pt x="148" y="119"/>
                  </a:cubicBezTo>
                  <a:lnTo>
                    <a:pt x="151" y="12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4" name="Омская обл.">
              <a:extLst>
                <a:ext uri="{FF2B5EF4-FFF2-40B4-BE49-F238E27FC236}">
                  <a16:creationId xmlns:a16="http://schemas.microsoft.com/office/drawing/2014/main" id="{4425664B-657B-276D-B9B6-9609770EB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0649" y="4905679"/>
              <a:ext cx="549126" cy="717364"/>
            </a:xfrm>
            <a:custGeom>
              <a:avLst/>
              <a:gdLst>
                <a:gd name="T0" fmla="*/ 94 w 103"/>
                <a:gd name="T1" fmla="*/ 19 h 151"/>
                <a:gd name="T2" fmla="*/ 98 w 103"/>
                <a:gd name="T3" fmla="*/ 29 h 151"/>
                <a:gd name="T4" fmla="*/ 103 w 103"/>
                <a:gd name="T5" fmla="*/ 50 h 151"/>
                <a:gd name="T6" fmla="*/ 98 w 103"/>
                <a:gd name="T7" fmla="*/ 72 h 151"/>
                <a:gd name="T8" fmla="*/ 89 w 103"/>
                <a:gd name="T9" fmla="*/ 86 h 151"/>
                <a:gd name="T10" fmla="*/ 77 w 103"/>
                <a:gd name="T11" fmla="*/ 103 h 151"/>
                <a:gd name="T12" fmla="*/ 81 w 103"/>
                <a:gd name="T13" fmla="*/ 126 h 151"/>
                <a:gd name="T14" fmla="*/ 76 w 103"/>
                <a:gd name="T15" fmla="*/ 139 h 151"/>
                <a:gd name="T16" fmla="*/ 65 w 103"/>
                <a:gd name="T17" fmla="*/ 146 h 151"/>
                <a:gd name="T18" fmla="*/ 49 w 103"/>
                <a:gd name="T19" fmla="*/ 149 h 151"/>
                <a:gd name="T20" fmla="*/ 35 w 103"/>
                <a:gd name="T21" fmla="*/ 147 h 151"/>
                <a:gd name="T22" fmla="*/ 40 w 103"/>
                <a:gd name="T23" fmla="*/ 136 h 151"/>
                <a:gd name="T24" fmla="*/ 26 w 103"/>
                <a:gd name="T25" fmla="*/ 132 h 151"/>
                <a:gd name="T26" fmla="*/ 18 w 103"/>
                <a:gd name="T27" fmla="*/ 121 h 151"/>
                <a:gd name="T28" fmla="*/ 2 w 103"/>
                <a:gd name="T29" fmla="*/ 117 h 151"/>
                <a:gd name="T30" fmla="*/ 7 w 103"/>
                <a:gd name="T31" fmla="*/ 104 h 151"/>
                <a:gd name="T32" fmla="*/ 5 w 103"/>
                <a:gd name="T33" fmla="*/ 89 h 151"/>
                <a:gd name="T34" fmla="*/ 1 w 103"/>
                <a:gd name="T35" fmla="*/ 81 h 151"/>
                <a:gd name="T36" fmla="*/ 6 w 103"/>
                <a:gd name="T37" fmla="*/ 72 h 151"/>
                <a:gd name="T38" fmla="*/ 14 w 103"/>
                <a:gd name="T39" fmla="*/ 66 h 151"/>
                <a:gd name="T40" fmla="*/ 22 w 103"/>
                <a:gd name="T41" fmla="*/ 51 h 151"/>
                <a:gd name="T42" fmla="*/ 30 w 103"/>
                <a:gd name="T43" fmla="*/ 48 h 151"/>
                <a:gd name="T44" fmla="*/ 28 w 103"/>
                <a:gd name="T45" fmla="*/ 39 h 151"/>
                <a:gd name="T46" fmla="*/ 17 w 103"/>
                <a:gd name="T47" fmla="*/ 29 h 151"/>
                <a:gd name="T48" fmla="*/ 22 w 103"/>
                <a:gd name="T49" fmla="*/ 23 h 151"/>
                <a:gd name="T50" fmla="*/ 21 w 103"/>
                <a:gd name="T51" fmla="*/ 12 h 151"/>
                <a:gd name="T52" fmla="*/ 38 w 103"/>
                <a:gd name="T53" fmla="*/ 3 h 151"/>
                <a:gd name="T54" fmla="*/ 35 w 103"/>
                <a:gd name="T55" fmla="*/ 12 h 151"/>
                <a:gd name="T56" fmla="*/ 50 w 103"/>
                <a:gd name="T57" fmla="*/ 17 h 151"/>
                <a:gd name="T58" fmla="*/ 60 w 103"/>
                <a:gd name="T59" fmla="*/ 19 h 151"/>
                <a:gd name="T60" fmla="*/ 69 w 103"/>
                <a:gd name="T61" fmla="*/ 19 h 151"/>
                <a:gd name="T62" fmla="*/ 95 w 103"/>
                <a:gd name="T63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151">
                  <a:moveTo>
                    <a:pt x="95" y="10"/>
                  </a:moveTo>
                  <a:cubicBezTo>
                    <a:pt x="94" y="19"/>
                    <a:pt x="94" y="19"/>
                    <a:pt x="94" y="1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4" y="139"/>
                    <a:pt x="72" y="140"/>
                    <a:pt x="71" y="141"/>
                  </a:cubicBezTo>
                  <a:cubicBezTo>
                    <a:pt x="69" y="144"/>
                    <a:pt x="65" y="146"/>
                    <a:pt x="65" y="146"/>
                  </a:cubicBezTo>
                  <a:cubicBezTo>
                    <a:pt x="64" y="146"/>
                    <a:pt x="58" y="146"/>
                    <a:pt x="56" y="149"/>
                  </a:cubicBezTo>
                  <a:cubicBezTo>
                    <a:pt x="53" y="151"/>
                    <a:pt x="49" y="151"/>
                    <a:pt x="49" y="149"/>
                  </a:cubicBezTo>
                  <a:cubicBezTo>
                    <a:pt x="48" y="147"/>
                    <a:pt x="45" y="146"/>
                    <a:pt x="43" y="148"/>
                  </a:cubicBezTo>
                  <a:cubicBezTo>
                    <a:pt x="41" y="150"/>
                    <a:pt x="36" y="149"/>
                    <a:pt x="35" y="147"/>
                  </a:cubicBezTo>
                  <a:cubicBezTo>
                    <a:pt x="35" y="145"/>
                    <a:pt x="33" y="143"/>
                    <a:pt x="35" y="141"/>
                  </a:cubicBezTo>
                  <a:cubicBezTo>
                    <a:pt x="36" y="139"/>
                    <a:pt x="40" y="136"/>
                    <a:pt x="40" y="136"/>
                  </a:cubicBezTo>
                  <a:cubicBezTo>
                    <a:pt x="40" y="136"/>
                    <a:pt x="35" y="133"/>
                    <a:pt x="33" y="131"/>
                  </a:cubicBezTo>
                  <a:cubicBezTo>
                    <a:pt x="31" y="129"/>
                    <a:pt x="28" y="130"/>
                    <a:pt x="26" y="132"/>
                  </a:cubicBezTo>
                  <a:cubicBezTo>
                    <a:pt x="23" y="134"/>
                    <a:pt x="23" y="126"/>
                    <a:pt x="23" y="124"/>
                  </a:cubicBezTo>
                  <a:cubicBezTo>
                    <a:pt x="23" y="122"/>
                    <a:pt x="20" y="118"/>
                    <a:pt x="18" y="121"/>
                  </a:cubicBezTo>
                  <a:cubicBezTo>
                    <a:pt x="16" y="124"/>
                    <a:pt x="9" y="123"/>
                    <a:pt x="9" y="122"/>
                  </a:cubicBezTo>
                  <a:cubicBezTo>
                    <a:pt x="8" y="120"/>
                    <a:pt x="4" y="120"/>
                    <a:pt x="2" y="117"/>
                  </a:cubicBezTo>
                  <a:cubicBezTo>
                    <a:pt x="0" y="115"/>
                    <a:pt x="3" y="115"/>
                    <a:pt x="4" y="112"/>
                  </a:cubicBezTo>
                  <a:cubicBezTo>
                    <a:pt x="6" y="110"/>
                    <a:pt x="7" y="108"/>
                    <a:pt x="7" y="104"/>
                  </a:cubicBezTo>
                  <a:cubicBezTo>
                    <a:pt x="8" y="101"/>
                    <a:pt x="6" y="99"/>
                    <a:pt x="7" y="97"/>
                  </a:cubicBezTo>
                  <a:cubicBezTo>
                    <a:pt x="8" y="95"/>
                    <a:pt x="6" y="92"/>
                    <a:pt x="5" y="89"/>
                  </a:cubicBezTo>
                  <a:cubicBezTo>
                    <a:pt x="5" y="88"/>
                    <a:pt x="3" y="86"/>
                    <a:pt x="1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83" y="20"/>
                    <a:pt x="83" y="20"/>
                    <a:pt x="83" y="20"/>
                  </a:cubicBezTo>
                  <a:lnTo>
                    <a:pt x="95" y="1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5" name="Новосибирская обл.">
              <a:extLst>
                <a:ext uri="{FF2B5EF4-FFF2-40B4-BE49-F238E27FC236}">
                  <a16:creationId xmlns:a16="http://schemas.microsoft.com/office/drawing/2014/main" id="{96504157-531E-A536-FC45-D63F0ABDC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6747" y="5158465"/>
              <a:ext cx="876048" cy="592110"/>
            </a:xfrm>
            <a:custGeom>
              <a:avLst/>
              <a:gdLst>
                <a:gd name="T0" fmla="*/ 27 w 165"/>
                <a:gd name="T1" fmla="*/ 0 h 125"/>
                <a:gd name="T2" fmla="*/ 33 w 165"/>
                <a:gd name="T3" fmla="*/ 1 h 125"/>
                <a:gd name="T4" fmla="*/ 39 w 165"/>
                <a:gd name="T5" fmla="*/ 7 h 125"/>
                <a:gd name="T6" fmla="*/ 51 w 165"/>
                <a:gd name="T7" fmla="*/ 7 h 125"/>
                <a:gd name="T8" fmla="*/ 71 w 165"/>
                <a:gd name="T9" fmla="*/ 14 h 125"/>
                <a:gd name="T10" fmla="*/ 88 w 165"/>
                <a:gd name="T11" fmla="*/ 35 h 125"/>
                <a:gd name="T12" fmla="*/ 103 w 165"/>
                <a:gd name="T13" fmla="*/ 35 h 125"/>
                <a:gd name="T14" fmla="*/ 110 w 165"/>
                <a:gd name="T15" fmla="*/ 42 h 125"/>
                <a:gd name="T16" fmla="*/ 124 w 165"/>
                <a:gd name="T17" fmla="*/ 41 h 125"/>
                <a:gd name="T18" fmla="*/ 129 w 165"/>
                <a:gd name="T19" fmla="*/ 35 h 125"/>
                <a:gd name="T20" fmla="*/ 136 w 165"/>
                <a:gd name="T21" fmla="*/ 38 h 125"/>
                <a:gd name="T22" fmla="*/ 135 w 165"/>
                <a:gd name="T23" fmla="*/ 52 h 125"/>
                <a:gd name="T24" fmla="*/ 137 w 165"/>
                <a:gd name="T25" fmla="*/ 55 h 125"/>
                <a:gd name="T26" fmla="*/ 135 w 165"/>
                <a:gd name="T27" fmla="*/ 58 h 125"/>
                <a:gd name="T28" fmla="*/ 138 w 165"/>
                <a:gd name="T29" fmla="*/ 62 h 125"/>
                <a:gd name="T30" fmla="*/ 147 w 165"/>
                <a:gd name="T31" fmla="*/ 52 h 125"/>
                <a:gd name="T32" fmla="*/ 156 w 165"/>
                <a:gd name="T33" fmla="*/ 54 h 125"/>
                <a:gd name="T34" fmla="*/ 158 w 165"/>
                <a:gd name="T35" fmla="*/ 64 h 125"/>
                <a:gd name="T36" fmla="*/ 161 w 165"/>
                <a:gd name="T37" fmla="*/ 76 h 125"/>
                <a:gd name="T38" fmla="*/ 159 w 165"/>
                <a:gd name="T39" fmla="*/ 88 h 125"/>
                <a:gd name="T40" fmla="*/ 165 w 165"/>
                <a:gd name="T41" fmla="*/ 99 h 125"/>
                <a:gd name="T42" fmla="*/ 156 w 165"/>
                <a:gd name="T43" fmla="*/ 106 h 125"/>
                <a:gd name="T44" fmla="*/ 147 w 165"/>
                <a:gd name="T45" fmla="*/ 106 h 125"/>
                <a:gd name="T46" fmla="*/ 142 w 165"/>
                <a:gd name="T47" fmla="*/ 110 h 125"/>
                <a:gd name="T48" fmla="*/ 137 w 165"/>
                <a:gd name="T49" fmla="*/ 107 h 125"/>
                <a:gd name="T50" fmla="*/ 133 w 165"/>
                <a:gd name="T51" fmla="*/ 112 h 125"/>
                <a:gd name="T52" fmla="*/ 128 w 165"/>
                <a:gd name="T53" fmla="*/ 107 h 125"/>
                <a:gd name="T54" fmla="*/ 121 w 165"/>
                <a:gd name="T55" fmla="*/ 117 h 125"/>
                <a:gd name="T56" fmla="*/ 117 w 165"/>
                <a:gd name="T57" fmla="*/ 125 h 125"/>
                <a:gd name="T58" fmla="*/ 103 w 165"/>
                <a:gd name="T59" fmla="*/ 115 h 125"/>
                <a:gd name="T60" fmla="*/ 103 w 165"/>
                <a:gd name="T61" fmla="*/ 108 h 125"/>
                <a:gd name="T62" fmla="*/ 95 w 165"/>
                <a:gd name="T63" fmla="*/ 99 h 125"/>
                <a:gd name="T64" fmla="*/ 86 w 165"/>
                <a:gd name="T65" fmla="*/ 99 h 125"/>
                <a:gd name="T66" fmla="*/ 75 w 165"/>
                <a:gd name="T67" fmla="*/ 103 h 125"/>
                <a:gd name="T68" fmla="*/ 67 w 165"/>
                <a:gd name="T69" fmla="*/ 110 h 125"/>
                <a:gd name="T70" fmla="*/ 56 w 165"/>
                <a:gd name="T71" fmla="*/ 110 h 125"/>
                <a:gd name="T72" fmla="*/ 50 w 165"/>
                <a:gd name="T73" fmla="*/ 112 h 125"/>
                <a:gd name="T74" fmla="*/ 45 w 165"/>
                <a:gd name="T75" fmla="*/ 114 h 125"/>
                <a:gd name="T76" fmla="*/ 40 w 165"/>
                <a:gd name="T77" fmla="*/ 109 h 125"/>
                <a:gd name="T78" fmla="*/ 33 w 165"/>
                <a:gd name="T79" fmla="*/ 116 h 125"/>
                <a:gd name="T80" fmla="*/ 28 w 165"/>
                <a:gd name="T81" fmla="*/ 109 h 125"/>
                <a:gd name="T82" fmla="*/ 16 w 165"/>
                <a:gd name="T83" fmla="*/ 91 h 125"/>
                <a:gd name="T84" fmla="*/ 21 w 165"/>
                <a:gd name="T85" fmla="*/ 87 h 125"/>
                <a:gd name="T86" fmla="*/ 20 w 165"/>
                <a:gd name="T87" fmla="*/ 82 h 125"/>
                <a:gd name="T88" fmla="*/ 11 w 165"/>
                <a:gd name="T89" fmla="*/ 84 h 125"/>
                <a:gd name="T90" fmla="*/ 3 w 165"/>
                <a:gd name="T91" fmla="*/ 86 h 125"/>
                <a:gd name="T92" fmla="*/ 0 w 165"/>
                <a:gd name="T93" fmla="*/ 86 h 125"/>
                <a:gd name="T94" fmla="*/ 1 w 165"/>
                <a:gd name="T95" fmla="*/ 81 h 125"/>
                <a:gd name="T96" fmla="*/ 5 w 165"/>
                <a:gd name="T97" fmla="*/ 73 h 125"/>
                <a:gd name="T98" fmla="*/ 2 w 165"/>
                <a:gd name="T99" fmla="*/ 67 h 125"/>
                <a:gd name="T100" fmla="*/ 1 w 165"/>
                <a:gd name="T101" fmla="*/ 50 h 125"/>
                <a:gd name="T102" fmla="*/ 4 w 165"/>
                <a:gd name="T103" fmla="*/ 38 h 125"/>
                <a:gd name="T104" fmla="*/ 13 w 165"/>
                <a:gd name="T105" fmla="*/ 33 h 125"/>
                <a:gd name="T106" fmla="*/ 20 w 165"/>
                <a:gd name="T107" fmla="*/ 29 h 125"/>
                <a:gd name="T108" fmla="*/ 22 w 165"/>
                <a:gd name="T109" fmla="*/ 19 h 125"/>
                <a:gd name="T110" fmla="*/ 27 w 165"/>
                <a:gd name="T111" fmla="*/ 14 h 125"/>
                <a:gd name="T112" fmla="*/ 27 w 165"/>
                <a:gd name="T1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25">
                  <a:moveTo>
                    <a:pt x="27" y="0"/>
                  </a:moveTo>
                  <a:cubicBezTo>
                    <a:pt x="33" y="1"/>
                    <a:pt x="33" y="1"/>
                    <a:pt x="33" y="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61" y="76"/>
                    <a:pt x="161" y="76"/>
                  </a:cubicBezTo>
                  <a:cubicBezTo>
                    <a:pt x="161" y="77"/>
                    <a:pt x="159" y="88"/>
                    <a:pt x="159" y="88"/>
                  </a:cubicBezTo>
                  <a:cubicBezTo>
                    <a:pt x="165" y="99"/>
                    <a:pt x="165" y="99"/>
                    <a:pt x="165" y="99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1" y="113"/>
                    <a:pt x="29" y="110"/>
                    <a:pt x="28" y="109"/>
                  </a:cubicBezTo>
                  <a:cubicBezTo>
                    <a:pt x="23" y="105"/>
                    <a:pt x="16" y="94"/>
                    <a:pt x="16" y="91"/>
                  </a:cubicBezTo>
                  <a:cubicBezTo>
                    <a:pt x="16" y="87"/>
                    <a:pt x="18" y="88"/>
                    <a:pt x="21" y="87"/>
                  </a:cubicBezTo>
                  <a:cubicBezTo>
                    <a:pt x="23" y="85"/>
                    <a:pt x="21" y="82"/>
                    <a:pt x="20" y="82"/>
                  </a:cubicBezTo>
                  <a:cubicBezTo>
                    <a:pt x="18" y="82"/>
                    <a:pt x="13" y="83"/>
                    <a:pt x="11" y="84"/>
                  </a:cubicBezTo>
                  <a:cubicBezTo>
                    <a:pt x="9" y="84"/>
                    <a:pt x="6" y="86"/>
                    <a:pt x="3" y="86"/>
                  </a:cubicBezTo>
                  <a:cubicBezTo>
                    <a:pt x="2" y="85"/>
                    <a:pt x="1" y="85"/>
                    <a:pt x="0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6" name="Новгородская обл.">
              <a:extLst>
                <a:ext uri="{FF2B5EF4-FFF2-40B4-BE49-F238E27FC236}">
                  <a16:creationId xmlns:a16="http://schemas.microsoft.com/office/drawing/2014/main" id="{FEC1E81A-3C69-0A99-1F1E-BC645B230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693" y="3316091"/>
              <a:ext cx="505708" cy="341602"/>
            </a:xfrm>
            <a:custGeom>
              <a:avLst/>
              <a:gdLst>
                <a:gd name="T0" fmla="*/ 193 w 198"/>
                <a:gd name="T1" fmla="*/ 150 h 150"/>
                <a:gd name="T2" fmla="*/ 164 w 198"/>
                <a:gd name="T3" fmla="*/ 134 h 150"/>
                <a:gd name="T4" fmla="*/ 164 w 198"/>
                <a:gd name="T5" fmla="*/ 138 h 150"/>
                <a:gd name="T6" fmla="*/ 158 w 198"/>
                <a:gd name="T7" fmla="*/ 142 h 150"/>
                <a:gd name="T8" fmla="*/ 148 w 198"/>
                <a:gd name="T9" fmla="*/ 131 h 150"/>
                <a:gd name="T10" fmla="*/ 137 w 198"/>
                <a:gd name="T11" fmla="*/ 131 h 150"/>
                <a:gd name="T12" fmla="*/ 131 w 198"/>
                <a:gd name="T13" fmla="*/ 121 h 150"/>
                <a:gd name="T14" fmla="*/ 129 w 198"/>
                <a:gd name="T15" fmla="*/ 111 h 150"/>
                <a:gd name="T16" fmla="*/ 114 w 198"/>
                <a:gd name="T17" fmla="*/ 108 h 150"/>
                <a:gd name="T18" fmla="*/ 106 w 198"/>
                <a:gd name="T19" fmla="*/ 117 h 150"/>
                <a:gd name="T20" fmla="*/ 93 w 198"/>
                <a:gd name="T21" fmla="*/ 115 h 150"/>
                <a:gd name="T22" fmla="*/ 85 w 198"/>
                <a:gd name="T23" fmla="*/ 123 h 150"/>
                <a:gd name="T24" fmla="*/ 79 w 198"/>
                <a:gd name="T25" fmla="*/ 123 h 150"/>
                <a:gd name="T26" fmla="*/ 68 w 198"/>
                <a:gd name="T27" fmla="*/ 117 h 150"/>
                <a:gd name="T28" fmla="*/ 52 w 198"/>
                <a:gd name="T29" fmla="*/ 117 h 150"/>
                <a:gd name="T30" fmla="*/ 50 w 198"/>
                <a:gd name="T31" fmla="*/ 111 h 150"/>
                <a:gd name="T32" fmla="*/ 37 w 198"/>
                <a:gd name="T33" fmla="*/ 111 h 150"/>
                <a:gd name="T34" fmla="*/ 31 w 198"/>
                <a:gd name="T35" fmla="*/ 104 h 150"/>
                <a:gd name="T36" fmla="*/ 10 w 198"/>
                <a:gd name="T37" fmla="*/ 100 h 150"/>
                <a:gd name="T38" fmla="*/ 0 w 198"/>
                <a:gd name="T39" fmla="*/ 92 h 150"/>
                <a:gd name="T40" fmla="*/ 2 w 198"/>
                <a:gd name="T41" fmla="*/ 77 h 150"/>
                <a:gd name="T42" fmla="*/ 12 w 198"/>
                <a:gd name="T43" fmla="*/ 75 h 150"/>
                <a:gd name="T44" fmla="*/ 14 w 198"/>
                <a:gd name="T45" fmla="*/ 63 h 150"/>
                <a:gd name="T46" fmla="*/ 27 w 198"/>
                <a:gd name="T47" fmla="*/ 54 h 150"/>
                <a:gd name="T48" fmla="*/ 37 w 198"/>
                <a:gd name="T49" fmla="*/ 42 h 150"/>
                <a:gd name="T50" fmla="*/ 29 w 198"/>
                <a:gd name="T51" fmla="*/ 27 h 150"/>
                <a:gd name="T52" fmla="*/ 33 w 198"/>
                <a:gd name="T53" fmla="*/ 17 h 150"/>
                <a:gd name="T54" fmla="*/ 39 w 198"/>
                <a:gd name="T55" fmla="*/ 11 h 150"/>
                <a:gd name="T56" fmla="*/ 50 w 198"/>
                <a:gd name="T57" fmla="*/ 6 h 150"/>
                <a:gd name="T58" fmla="*/ 50 w 198"/>
                <a:gd name="T59" fmla="*/ 6 h 150"/>
                <a:gd name="T60" fmla="*/ 60 w 198"/>
                <a:gd name="T61" fmla="*/ 8 h 150"/>
                <a:gd name="T62" fmla="*/ 73 w 198"/>
                <a:gd name="T63" fmla="*/ 0 h 150"/>
                <a:gd name="T64" fmla="*/ 75 w 198"/>
                <a:gd name="T65" fmla="*/ 11 h 150"/>
                <a:gd name="T66" fmla="*/ 98 w 198"/>
                <a:gd name="T67" fmla="*/ 11 h 150"/>
                <a:gd name="T68" fmla="*/ 110 w 198"/>
                <a:gd name="T69" fmla="*/ 17 h 150"/>
                <a:gd name="T70" fmla="*/ 118 w 198"/>
                <a:gd name="T71" fmla="*/ 15 h 150"/>
                <a:gd name="T72" fmla="*/ 127 w 198"/>
                <a:gd name="T73" fmla="*/ 8 h 150"/>
                <a:gd name="T74" fmla="*/ 143 w 198"/>
                <a:gd name="T75" fmla="*/ 21 h 150"/>
                <a:gd name="T76" fmla="*/ 139 w 198"/>
                <a:gd name="T77" fmla="*/ 38 h 150"/>
                <a:gd name="T78" fmla="*/ 145 w 198"/>
                <a:gd name="T79" fmla="*/ 44 h 150"/>
                <a:gd name="T80" fmla="*/ 150 w 198"/>
                <a:gd name="T81" fmla="*/ 40 h 150"/>
                <a:gd name="T82" fmla="*/ 164 w 198"/>
                <a:gd name="T83" fmla="*/ 40 h 150"/>
                <a:gd name="T84" fmla="*/ 162 w 198"/>
                <a:gd name="T85" fmla="*/ 48 h 150"/>
                <a:gd name="T86" fmla="*/ 173 w 198"/>
                <a:gd name="T87" fmla="*/ 52 h 150"/>
                <a:gd name="T88" fmla="*/ 164 w 198"/>
                <a:gd name="T89" fmla="*/ 71 h 150"/>
                <a:gd name="T90" fmla="*/ 181 w 198"/>
                <a:gd name="T91" fmla="*/ 77 h 150"/>
                <a:gd name="T92" fmla="*/ 185 w 198"/>
                <a:gd name="T93" fmla="*/ 98 h 150"/>
                <a:gd name="T94" fmla="*/ 177 w 198"/>
                <a:gd name="T95" fmla="*/ 115 h 150"/>
                <a:gd name="T96" fmla="*/ 191 w 198"/>
                <a:gd name="T97" fmla="*/ 123 h 150"/>
                <a:gd name="T98" fmla="*/ 198 w 198"/>
                <a:gd name="T99" fmla="*/ 136 h 150"/>
                <a:gd name="T100" fmla="*/ 193 w 198"/>
                <a:gd name="T10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50">
                  <a:moveTo>
                    <a:pt x="193" y="150"/>
                  </a:moveTo>
                  <a:lnTo>
                    <a:pt x="164" y="134"/>
                  </a:lnTo>
                  <a:lnTo>
                    <a:pt x="164" y="138"/>
                  </a:lnTo>
                  <a:lnTo>
                    <a:pt x="158" y="142"/>
                  </a:lnTo>
                  <a:lnTo>
                    <a:pt x="148" y="131"/>
                  </a:lnTo>
                  <a:lnTo>
                    <a:pt x="137" y="131"/>
                  </a:lnTo>
                  <a:lnTo>
                    <a:pt x="131" y="121"/>
                  </a:lnTo>
                  <a:lnTo>
                    <a:pt x="129" y="111"/>
                  </a:lnTo>
                  <a:lnTo>
                    <a:pt x="114" y="108"/>
                  </a:lnTo>
                  <a:lnTo>
                    <a:pt x="106" y="117"/>
                  </a:lnTo>
                  <a:lnTo>
                    <a:pt x="93" y="115"/>
                  </a:lnTo>
                  <a:lnTo>
                    <a:pt x="85" y="123"/>
                  </a:lnTo>
                  <a:lnTo>
                    <a:pt x="79" y="123"/>
                  </a:lnTo>
                  <a:lnTo>
                    <a:pt x="68" y="117"/>
                  </a:lnTo>
                  <a:lnTo>
                    <a:pt x="52" y="117"/>
                  </a:lnTo>
                  <a:lnTo>
                    <a:pt x="50" y="111"/>
                  </a:lnTo>
                  <a:lnTo>
                    <a:pt x="37" y="111"/>
                  </a:lnTo>
                  <a:lnTo>
                    <a:pt x="31" y="104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2" y="77"/>
                  </a:lnTo>
                  <a:lnTo>
                    <a:pt x="12" y="75"/>
                  </a:lnTo>
                  <a:lnTo>
                    <a:pt x="14" y="63"/>
                  </a:lnTo>
                  <a:lnTo>
                    <a:pt x="27" y="54"/>
                  </a:lnTo>
                  <a:lnTo>
                    <a:pt x="37" y="42"/>
                  </a:lnTo>
                  <a:lnTo>
                    <a:pt x="29" y="27"/>
                  </a:lnTo>
                  <a:lnTo>
                    <a:pt x="33" y="17"/>
                  </a:lnTo>
                  <a:lnTo>
                    <a:pt x="39" y="11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8"/>
                  </a:lnTo>
                  <a:lnTo>
                    <a:pt x="73" y="0"/>
                  </a:lnTo>
                  <a:lnTo>
                    <a:pt x="75" y="11"/>
                  </a:lnTo>
                  <a:lnTo>
                    <a:pt x="98" y="11"/>
                  </a:lnTo>
                  <a:lnTo>
                    <a:pt x="110" y="17"/>
                  </a:lnTo>
                  <a:lnTo>
                    <a:pt x="118" y="15"/>
                  </a:lnTo>
                  <a:lnTo>
                    <a:pt x="127" y="8"/>
                  </a:lnTo>
                  <a:lnTo>
                    <a:pt x="143" y="21"/>
                  </a:lnTo>
                  <a:lnTo>
                    <a:pt x="139" y="38"/>
                  </a:lnTo>
                  <a:lnTo>
                    <a:pt x="145" y="44"/>
                  </a:lnTo>
                  <a:lnTo>
                    <a:pt x="150" y="40"/>
                  </a:lnTo>
                  <a:lnTo>
                    <a:pt x="164" y="40"/>
                  </a:lnTo>
                  <a:lnTo>
                    <a:pt x="162" y="48"/>
                  </a:lnTo>
                  <a:lnTo>
                    <a:pt x="173" y="52"/>
                  </a:lnTo>
                  <a:lnTo>
                    <a:pt x="164" y="71"/>
                  </a:lnTo>
                  <a:lnTo>
                    <a:pt x="181" y="77"/>
                  </a:lnTo>
                  <a:lnTo>
                    <a:pt x="185" y="98"/>
                  </a:lnTo>
                  <a:lnTo>
                    <a:pt x="177" y="115"/>
                  </a:lnTo>
                  <a:lnTo>
                    <a:pt x="191" y="123"/>
                  </a:lnTo>
                  <a:lnTo>
                    <a:pt x="198" y="136"/>
                  </a:lnTo>
                  <a:lnTo>
                    <a:pt x="193" y="1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7" name="Нижегородская обл.">
              <a:extLst>
                <a:ext uri="{FF2B5EF4-FFF2-40B4-BE49-F238E27FC236}">
                  <a16:creationId xmlns:a16="http://schemas.microsoft.com/office/drawing/2014/main" id="{99B219E5-113A-F031-A92A-C0595981A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293" y="4117718"/>
              <a:ext cx="674276" cy="398536"/>
            </a:xfrm>
            <a:custGeom>
              <a:avLst/>
              <a:gdLst>
                <a:gd name="T0" fmla="*/ 12 w 264"/>
                <a:gd name="T1" fmla="*/ 113 h 175"/>
                <a:gd name="T2" fmla="*/ 12 w 264"/>
                <a:gd name="T3" fmla="*/ 100 h 175"/>
                <a:gd name="T4" fmla="*/ 0 w 264"/>
                <a:gd name="T5" fmla="*/ 88 h 175"/>
                <a:gd name="T6" fmla="*/ 2 w 264"/>
                <a:gd name="T7" fmla="*/ 73 h 175"/>
                <a:gd name="T8" fmla="*/ 12 w 264"/>
                <a:gd name="T9" fmla="*/ 65 h 175"/>
                <a:gd name="T10" fmla="*/ 20 w 264"/>
                <a:gd name="T11" fmla="*/ 65 h 175"/>
                <a:gd name="T12" fmla="*/ 29 w 264"/>
                <a:gd name="T13" fmla="*/ 57 h 175"/>
                <a:gd name="T14" fmla="*/ 43 w 264"/>
                <a:gd name="T15" fmla="*/ 54 h 175"/>
                <a:gd name="T16" fmla="*/ 56 w 264"/>
                <a:gd name="T17" fmla="*/ 50 h 175"/>
                <a:gd name="T18" fmla="*/ 72 w 264"/>
                <a:gd name="T19" fmla="*/ 48 h 175"/>
                <a:gd name="T20" fmla="*/ 83 w 264"/>
                <a:gd name="T21" fmla="*/ 38 h 175"/>
                <a:gd name="T22" fmla="*/ 87 w 264"/>
                <a:gd name="T23" fmla="*/ 23 h 175"/>
                <a:gd name="T24" fmla="*/ 95 w 264"/>
                <a:gd name="T25" fmla="*/ 15 h 175"/>
                <a:gd name="T26" fmla="*/ 106 w 264"/>
                <a:gd name="T27" fmla="*/ 25 h 175"/>
                <a:gd name="T28" fmla="*/ 122 w 264"/>
                <a:gd name="T29" fmla="*/ 25 h 175"/>
                <a:gd name="T30" fmla="*/ 122 w 264"/>
                <a:gd name="T31" fmla="*/ 13 h 175"/>
                <a:gd name="T32" fmla="*/ 150 w 264"/>
                <a:gd name="T33" fmla="*/ 13 h 175"/>
                <a:gd name="T34" fmla="*/ 158 w 264"/>
                <a:gd name="T35" fmla="*/ 17 h 175"/>
                <a:gd name="T36" fmla="*/ 162 w 264"/>
                <a:gd name="T37" fmla="*/ 9 h 175"/>
                <a:gd name="T38" fmla="*/ 172 w 264"/>
                <a:gd name="T39" fmla="*/ 11 h 175"/>
                <a:gd name="T40" fmla="*/ 187 w 264"/>
                <a:gd name="T41" fmla="*/ 0 h 175"/>
                <a:gd name="T42" fmla="*/ 197 w 264"/>
                <a:gd name="T43" fmla="*/ 2 h 175"/>
                <a:gd name="T44" fmla="*/ 208 w 264"/>
                <a:gd name="T45" fmla="*/ 19 h 175"/>
                <a:gd name="T46" fmla="*/ 227 w 264"/>
                <a:gd name="T47" fmla="*/ 19 h 175"/>
                <a:gd name="T48" fmla="*/ 231 w 264"/>
                <a:gd name="T49" fmla="*/ 25 h 175"/>
                <a:gd name="T50" fmla="*/ 231 w 264"/>
                <a:gd name="T51" fmla="*/ 23 h 175"/>
                <a:gd name="T52" fmla="*/ 264 w 264"/>
                <a:gd name="T53" fmla="*/ 57 h 175"/>
                <a:gd name="T54" fmla="*/ 245 w 264"/>
                <a:gd name="T55" fmla="*/ 73 h 175"/>
                <a:gd name="T56" fmla="*/ 229 w 264"/>
                <a:gd name="T57" fmla="*/ 69 h 175"/>
                <a:gd name="T58" fmla="*/ 220 w 264"/>
                <a:gd name="T59" fmla="*/ 69 h 175"/>
                <a:gd name="T60" fmla="*/ 202 w 264"/>
                <a:gd name="T61" fmla="*/ 90 h 175"/>
                <a:gd name="T62" fmla="*/ 181 w 264"/>
                <a:gd name="T63" fmla="*/ 77 h 175"/>
                <a:gd name="T64" fmla="*/ 175 w 264"/>
                <a:gd name="T65" fmla="*/ 88 h 175"/>
                <a:gd name="T66" fmla="*/ 156 w 264"/>
                <a:gd name="T67" fmla="*/ 88 h 175"/>
                <a:gd name="T68" fmla="*/ 158 w 264"/>
                <a:gd name="T69" fmla="*/ 100 h 175"/>
                <a:gd name="T70" fmla="*/ 147 w 264"/>
                <a:gd name="T71" fmla="*/ 111 h 175"/>
                <a:gd name="T72" fmla="*/ 156 w 264"/>
                <a:gd name="T73" fmla="*/ 123 h 175"/>
                <a:gd name="T74" fmla="*/ 135 w 264"/>
                <a:gd name="T75" fmla="*/ 138 h 175"/>
                <a:gd name="T76" fmla="*/ 135 w 264"/>
                <a:gd name="T77" fmla="*/ 155 h 175"/>
                <a:gd name="T78" fmla="*/ 112 w 264"/>
                <a:gd name="T79" fmla="*/ 173 h 175"/>
                <a:gd name="T80" fmla="*/ 118 w 264"/>
                <a:gd name="T81" fmla="*/ 175 h 175"/>
                <a:gd name="T82" fmla="*/ 108 w 264"/>
                <a:gd name="T83" fmla="*/ 171 h 175"/>
                <a:gd name="T84" fmla="*/ 108 w 264"/>
                <a:gd name="T85" fmla="*/ 159 h 175"/>
                <a:gd name="T86" fmla="*/ 95 w 264"/>
                <a:gd name="T87" fmla="*/ 157 h 175"/>
                <a:gd name="T88" fmla="*/ 91 w 264"/>
                <a:gd name="T89" fmla="*/ 165 h 175"/>
                <a:gd name="T90" fmla="*/ 79 w 264"/>
                <a:gd name="T91" fmla="*/ 163 h 175"/>
                <a:gd name="T92" fmla="*/ 68 w 264"/>
                <a:gd name="T93" fmla="*/ 169 h 175"/>
                <a:gd name="T94" fmla="*/ 56 w 264"/>
                <a:gd name="T95" fmla="*/ 169 h 175"/>
                <a:gd name="T96" fmla="*/ 56 w 264"/>
                <a:gd name="T97" fmla="*/ 161 h 175"/>
                <a:gd name="T98" fmla="*/ 45 w 264"/>
                <a:gd name="T99" fmla="*/ 150 h 175"/>
                <a:gd name="T100" fmla="*/ 45 w 264"/>
                <a:gd name="T101" fmla="*/ 136 h 175"/>
                <a:gd name="T102" fmla="*/ 35 w 264"/>
                <a:gd name="T103" fmla="*/ 127 h 175"/>
                <a:gd name="T104" fmla="*/ 35 w 264"/>
                <a:gd name="T105" fmla="*/ 117 h 175"/>
                <a:gd name="T106" fmla="*/ 20 w 264"/>
                <a:gd name="T107" fmla="*/ 117 h 175"/>
                <a:gd name="T108" fmla="*/ 12 w 264"/>
                <a:gd name="T109" fmla="*/ 1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75">
                  <a:moveTo>
                    <a:pt x="12" y="113"/>
                  </a:moveTo>
                  <a:lnTo>
                    <a:pt x="12" y="100"/>
                  </a:lnTo>
                  <a:lnTo>
                    <a:pt x="0" y="88"/>
                  </a:lnTo>
                  <a:lnTo>
                    <a:pt x="2" y="73"/>
                  </a:lnTo>
                  <a:lnTo>
                    <a:pt x="12" y="65"/>
                  </a:lnTo>
                  <a:lnTo>
                    <a:pt x="20" y="65"/>
                  </a:lnTo>
                  <a:lnTo>
                    <a:pt x="29" y="57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2" y="48"/>
                  </a:lnTo>
                  <a:lnTo>
                    <a:pt x="83" y="38"/>
                  </a:lnTo>
                  <a:lnTo>
                    <a:pt x="87" y="23"/>
                  </a:lnTo>
                  <a:lnTo>
                    <a:pt x="95" y="15"/>
                  </a:lnTo>
                  <a:lnTo>
                    <a:pt x="106" y="25"/>
                  </a:lnTo>
                  <a:lnTo>
                    <a:pt x="122" y="25"/>
                  </a:lnTo>
                  <a:lnTo>
                    <a:pt x="122" y="13"/>
                  </a:lnTo>
                  <a:lnTo>
                    <a:pt x="150" y="13"/>
                  </a:lnTo>
                  <a:lnTo>
                    <a:pt x="158" y="17"/>
                  </a:lnTo>
                  <a:lnTo>
                    <a:pt x="162" y="9"/>
                  </a:lnTo>
                  <a:lnTo>
                    <a:pt x="172" y="11"/>
                  </a:lnTo>
                  <a:lnTo>
                    <a:pt x="187" y="0"/>
                  </a:lnTo>
                  <a:lnTo>
                    <a:pt x="197" y="2"/>
                  </a:lnTo>
                  <a:lnTo>
                    <a:pt x="208" y="19"/>
                  </a:lnTo>
                  <a:lnTo>
                    <a:pt x="227" y="19"/>
                  </a:lnTo>
                  <a:lnTo>
                    <a:pt x="231" y="25"/>
                  </a:lnTo>
                  <a:lnTo>
                    <a:pt x="231" y="23"/>
                  </a:lnTo>
                  <a:lnTo>
                    <a:pt x="264" y="57"/>
                  </a:lnTo>
                  <a:lnTo>
                    <a:pt x="245" y="73"/>
                  </a:lnTo>
                  <a:lnTo>
                    <a:pt x="229" y="69"/>
                  </a:lnTo>
                  <a:lnTo>
                    <a:pt x="220" y="69"/>
                  </a:lnTo>
                  <a:lnTo>
                    <a:pt x="202" y="90"/>
                  </a:lnTo>
                  <a:lnTo>
                    <a:pt x="181" y="77"/>
                  </a:lnTo>
                  <a:lnTo>
                    <a:pt x="175" y="88"/>
                  </a:lnTo>
                  <a:lnTo>
                    <a:pt x="156" y="88"/>
                  </a:lnTo>
                  <a:lnTo>
                    <a:pt x="158" y="100"/>
                  </a:lnTo>
                  <a:lnTo>
                    <a:pt x="147" y="111"/>
                  </a:lnTo>
                  <a:lnTo>
                    <a:pt x="156" y="123"/>
                  </a:lnTo>
                  <a:lnTo>
                    <a:pt x="135" y="138"/>
                  </a:lnTo>
                  <a:lnTo>
                    <a:pt x="135" y="155"/>
                  </a:lnTo>
                  <a:lnTo>
                    <a:pt x="112" y="173"/>
                  </a:lnTo>
                  <a:lnTo>
                    <a:pt x="118" y="175"/>
                  </a:lnTo>
                  <a:lnTo>
                    <a:pt x="108" y="171"/>
                  </a:lnTo>
                  <a:lnTo>
                    <a:pt x="108" y="159"/>
                  </a:lnTo>
                  <a:lnTo>
                    <a:pt x="95" y="157"/>
                  </a:lnTo>
                  <a:lnTo>
                    <a:pt x="91" y="165"/>
                  </a:lnTo>
                  <a:lnTo>
                    <a:pt x="79" y="163"/>
                  </a:lnTo>
                  <a:lnTo>
                    <a:pt x="68" y="169"/>
                  </a:lnTo>
                  <a:lnTo>
                    <a:pt x="56" y="169"/>
                  </a:lnTo>
                  <a:lnTo>
                    <a:pt x="56" y="161"/>
                  </a:lnTo>
                  <a:lnTo>
                    <a:pt x="45" y="150"/>
                  </a:lnTo>
                  <a:lnTo>
                    <a:pt x="45" y="136"/>
                  </a:lnTo>
                  <a:lnTo>
                    <a:pt x="35" y="127"/>
                  </a:lnTo>
                  <a:lnTo>
                    <a:pt x="35" y="117"/>
                  </a:lnTo>
                  <a:lnTo>
                    <a:pt x="20" y="117"/>
                  </a:lnTo>
                  <a:lnTo>
                    <a:pt x="12" y="113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sz="600" dirty="0">
                <a:latin typeface="Lato Light"/>
              </a:endParaRPr>
            </a:p>
          </p:txBody>
        </p:sp>
        <p:sp>
          <p:nvSpPr>
            <p:cNvPr id="198" name="Мурманская обл.">
              <a:extLst>
                <a:ext uri="{FF2B5EF4-FFF2-40B4-BE49-F238E27FC236}">
                  <a16:creationId xmlns:a16="http://schemas.microsoft.com/office/drawing/2014/main" id="{C8AF62A9-8376-A5AC-5E98-C0EAF5409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066" y="2286731"/>
              <a:ext cx="643628" cy="721920"/>
            </a:xfrm>
            <a:custGeom>
              <a:avLst/>
              <a:gdLst>
                <a:gd name="T0" fmla="*/ 0 w 121"/>
                <a:gd name="T1" fmla="*/ 59 h 152"/>
                <a:gd name="T2" fmla="*/ 6 w 121"/>
                <a:gd name="T3" fmla="*/ 48 h 152"/>
                <a:gd name="T4" fmla="*/ 25 w 121"/>
                <a:gd name="T5" fmla="*/ 45 h 152"/>
                <a:gd name="T6" fmla="*/ 31 w 121"/>
                <a:gd name="T7" fmla="*/ 35 h 152"/>
                <a:gd name="T8" fmla="*/ 34 w 121"/>
                <a:gd name="T9" fmla="*/ 26 h 152"/>
                <a:gd name="T10" fmla="*/ 37 w 121"/>
                <a:gd name="T11" fmla="*/ 15 h 152"/>
                <a:gd name="T12" fmla="*/ 49 w 121"/>
                <a:gd name="T13" fmla="*/ 8 h 152"/>
                <a:gd name="T14" fmla="*/ 56 w 121"/>
                <a:gd name="T15" fmla="*/ 2 h 152"/>
                <a:gd name="T16" fmla="*/ 62 w 121"/>
                <a:gd name="T17" fmla="*/ 5 h 152"/>
                <a:gd name="T18" fmla="*/ 72 w 121"/>
                <a:gd name="T19" fmla="*/ 6 h 152"/>
                <a:gd name="T20" fmla="*/ 80 w 121"/>
                <a:gd name="T21" fmla="*/ 11 h 152"/>
                <a:gd name="T22" fmla="*/ 86 w 121"/>
                <a:gd name="T23" fmla="*/ 6 h 152"/>
                <a:gd name="T24" fmla="*/ 90 w 121"/>
                <a:gd name="T25" fmla="*/ 10 h 152"/>
                <a:gd name="T26" fmla="*/ 98 w 121"/>
                <a:gd name="T27" fmla="*/ 14 h 152"/>
                <a:gd name="T28" fmla="*/ 98 w 121"/>
                <a:gd name="T29" fmla="*/ 23 h 152"/>
                <a:gd name="T30" fmla="*/ 91 w 121"/>
                <a:gd name="T31" fmla="*/ 22 h 152"/>
                <a:gd name="T32" fmla="*/ 95 w 121"/>
                <a:gd name="T33" fmla="*/ 33 h 152"/>
                <a:gd name="T34" fmla="*/ 105 w 121"/>
                <a:gd name="T35" fmla="*/ 49 h 152"/>
                <a:gd name="T36" fmla="*/ 113 w 121"/>
                <a:gd name="T37" fmla="*/ 65 h 152"/>
                <a:gd name="T38" fmla="*/ 114 w 121"/>
                <a:gd name="T39" fmla="*/ 92 h 152"/>
                <a:gd name="T40" fmla="*/ 118 w 121"/>
                <a:gd name="T41" fmla="*/ 112 h 152"/>
                <a:gd name="T42" fmla="*/ 120 w 121"/>
                <a:gd name="T43" fmla="*/ 128 h 152"/>
                <a:gd name="T44" fmla="*/ 113 w 121"/>
                <a:gd name="T45" fmla="*/ 144 h 152"/>
                <a:gd name="T46" fmla="*/ 82 w 121"/>
                <a:gd name="T47" fmla="*/ 152 h 152"/>
                <a:gd name="T48" fmla="*/ 65 w 121"/>
                <a:gd name="T49" fmla="*/ 144 h 152"/>
                <a:gd name="T50" fmla="*/ 56 w 121"/>
                <a:gd name="T51" fmla="*/ 124 h 152"/>
                <a:gd name="T52" fmla="*/ 46 w 121"/>
                <a:gd name="T53" fmla="*/ 109 h 152"/>
                <a:gd name="T54" fmla="*/ 39 w 121"/>
                <a:gd name="T55" fmla="*/ 91 h 152"/>
                <a:gd name="T56" fmla="*/ 37 w 121"/>
                <a:gd name="T57" fmla="*/ 78 h 152"/>
                <a:gd name="T58" fmla="*/ 34 w 121"/>
                <a:gd name="T59" fmla="*/ 74 h 152"/>
                <a:gd name="T60" fmla="*/ 32 w 121"/>
                <a:gd name="T61" fmla="*/ 91 h 152"/>
                <a:gd name="T62" fmla="*/ 32 w 121"/>
                <a:gd name="T63" fmla="*/ 93 h 152"/>
                <a:gd name="T64" fmla="*/ 17 w 121"/>
                <a:gd name="T65" fmla="*/ 87 h 152"/>
                <a:gd name="T66" fmla="*/ 13 w 121"/>
                <a:gd name="T67" fmla="*/ 82 h 152"/>
                <a:gd name="T68" fmla="*/ 15 w 121"/>
                <a:gd name="T69" fmla="*/ 71 h 152"/>
                <a:gd name="T70" fmla="*/ 0 w 121"/>
                <a:gd name="T71" fmla="*/ 5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152">
                  <a:moveTo>
                    <a:pt x="0" y="59"/>
                  </a:moveTo>
                  <a:cubicBezTo>
                    <a:pt x="3" y="54"/>
                    <a:pt x="5" y="50"/>
                    <a:pt x="6" y="48"/>
                  </a:cubicBezTo>
                  <a:cubicBezTo>
                    <a:pt x="9" y="43"/>
                    <a:pt x="18" y="45"/>
                    <a:pt x="25" y="45"/>
                  </a:cubicBezTo>
                  <a:cubicBezTo>
                    <a:pt x="33" y="45"/>
                    <a:pt x="31" y="39"/>
                    <a:pt x="31" y="35"/>
                  </a:cubicBezTo>
                  <a:cubicBezTo>
                    <a:pt x="31" y="32"/>
                    <a:pt x="36" y="29"/>
                    <a:pt x="34" y="26"/>
                  </a:cubicBezTo>
                  <a:cubicBezTo>
                    <a:pt x="32" y="22"/>
                    <a:pt x="34" y="17"/>
                    <a:pt x="37" y="15"/>
                  </a:cubicBezTo>
                  <a:cubicBezTo>
                    <a:pt x="40" y="13"/>
                    <a:pt x="43" y="8"/>
                    <a:pt x="49" y="8"/>
                  </a:cubicBezTo>
                  <a:cubicBezTo>
                    <a:pt x="54" y="7"/>
                    <a:pt x="53" y="5"/>
                    <a:pt x="56" y="2"/>
                  </a:cubicBezTo>
                  <a:cubicBezTo>
                    <a:pt x="60" y="0"/>
                    <a:pt x="62" y="5"/>
                    <a:pt x="62" y="5"/>
                  </a:cubicBezTo>
                  <a:cubicBezTo>
                    <a:pt x="62" y="5"/>
                    <a:pt x="68" y="10"/>
                    <a:pt x="72" y="6"/>
                  </a:cubicBezTo>
                  <a:cubicBezTo>
                    <a:pt x="75" y="3"/>
                    <a:pt x="77" y="11"/>
                    <a:pt x="80" y="11"/>
                  </a:cubicBezTo>
                  <a:cubicBezTo>
                    <a:pt x="82" y="11"/>
                    <a:pt x="85" y="8"/>
                    <a:pt x="86" y="6"/>
                  </a:cubicBezTo>
                  <a:cubicBezTo>
                    <a:pt x="88" y="9"/>
                    <a:pt x="85" y="11"/>
                    <a:pt x="90" y="10"/>
                  </a:cubicBezTo>
                  <a:cubicBezTo>
                    <a:pt x="95" y="10"/>
                    <a:pt x="97" y="10"/>
                    <a:pt x="98" y="14"/>
                  </a:cubicBezTo>
                  <a:cubicBezTo>
                    <a:pt x="100" y="17"/>
                    <a:pt x="101" y="24"/>
                    <a:pt x="98" y="23"/>
                  </a:cubicBezTo>
                  <a:cubicBezTo>
                    <a:pt x="95" y="22"/>
                    <a:pt x="93" y="21"/>
                    <a:pt x="91" y="22"/>
                  </a:cubicBezTo>
                  <a:cubicBezTo>
                    <a:pt x="89" y="24"/>
                    <a:pt x="93" y="29"/>
                    <a:pt x="95" y="33"/>
                  </a:cubicBezTo>
                  <a:cubicBezTo>
                    <a:pt x="98" y="37"/>
                    <a:pt x="99" y="45"/>
                    <a:pt x="105" y="49"/>
                  </a:cubicBezTo>
                  <a:cubicBezTo>
                    <a:pt x="111" y="53"/>
                    <a:pt x="113" y="61"/>
                    <a:pt x="113" y="65"/>
                  </a:cubicBezTo>
                  <a:cubicBezTo>
                    <a:pt x="112" y="70"/>
                    <a:pt x="113" y="86"/>
                    <a:pt x="114" y="92"/>
                  </a:cubicBezTo>
                  <a:cubicBezTo>
                    <a:pt x="114" y="98"/>
                    <a:pt x="114" y="104"/>
                    <a:pt x="118" y="112"/>
                  </a:cubicBezTo>
                  <a:cubicBezTo>
                    <a:pt x="121" y="120"/>
                    <a:pt x="121" y="125"/>
                    <a:pt x="120" y="128"/>
                  </a:cubicBezTo>
                  <a:cubicBezTo>
                    <a:pt x="119" y="131"/>
                    <a:pt x="115" y="140"/>
                    <a:pt x="113" y="144"/>
                  </a:cubicBezTo>
                  <a:cubicBezTo>
                    <a:pt x="111" y="149"/>
                    <a:pt x="89" y="152"/>
                    <a:pt x="82" y="152"/>
                  </a:cubicBezTo>
                  <a:cubicBezTo>
                    <a:pt x="75" y="152"/>
                    <a:pt x="69" y="148"/>
                    <a:pt x="65" y="144"/>
                  </a:cubicBezTo>
                  <a:cubicBezTo>
                    <a:pt x="61" y="139"/>
                    <a:pt x="60" y="129"/>
                    <a:pt x="56" y="124"/>
                  </a:cubicBezTo>
                  <a:cubicBezTo>
                    <a:pt x="52" y="118"/>
                    <a:pt x="45" y="115"/>
                    <a:pt x="46" y="109"/>
                  </a:cubicBezTo>
                  <a:cubicBezTo>
                    <a:pt x="46" y="103"/>
                    <a:pt x="41" y="96"/>
                    <a:pt x="39" y="91"/>
                  </a:cubicBezTo>
                  <a:cubicBezTo>
                    <a:pt x="37" y="87"/>
                    <a:pt x="38" y="82"/>
                    <a:pt x="37" y="78"/>
                  </a:cubicBezTo>
                  <a:cubicBezTo>
                    <a:pt x="36" y="74"/>
                    <a:pt x="35" y="69"/>
                    <a:pt x="34" y="74"/>
                  </a:cubicBezTo>
                  <a:cubicBezTo>
                    <a:pt x="32" y="78"/>
                    <a:pt x="34" y="85"/>
                    <a:pt x="32" y="91"/>
                  </a:cubicBezTo>
                  <a:cubicBezTo>
                    <a:pt x="32" y="92"/>
                    <a:pt x="32" y="92"/>
                    <a:pt x="3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5" y="71"/>
                    <a:pt x="15" y="71"/>
                    <a:pt x="15" y="71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9" name="Московская обл.">
              <a:extLst>
                <a:ext uri="{FF2B5EF4-FFF2-40B4-BE49-F238E27FC236}">
                  <a16:creationId xmlns:a16="http://schemas.microsoft.com/office/drawing/2014/main" id="{03D88A73-3CF1-2A5E-97C2-51DF2BEE4A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870" y="3828495"/>
              <a:ext cx="349909" cy="393980"/>
            </a:xfrm>
            <a:custGeom>
              <a:avLst/>
              <a:gdLst>
                <a:gd name="T0" fmla="*/ 31 w 137"/>
                <a:gd name="T1" fmla="*/ 11 h 173"/>
                <a:gd name="T2" fmla="*/ 44 w 137"/>
                <a:gd name="T3" fmla="*/ 11 h 173"/>
                <a:gd name="T4" fmla="*/ 56 w 137"/>
                <a:gd name="T5" fmla="*/ 0 h 173"/>
                <a:gd name="T6" fmla="*/ 64 w 137"/>
                <a:gd name="T7" fmla="*/ 17 h 173"/>
                <a:gd name="T8" fmla="*/ 77 w 137"/>
                <a:gd name="T9" fmla="*/ 19 h 173"/>
                <a:gd name="T10" fmla="*/ 94 w 137"/>
                <a:gd name="T11" fmla="*/ 27 h 173"/>
                <a:gd name="T12" fmla="*/ 102 w 137"/>
                <a:gd name="T13" fmla="*/ 27 h 173"/>
                <a:gd name="T14" fmla="*/ 121 w 137"/>
                <a:gd name="T15" fmla="*/ 36 h 173"/>
                <a:gd name="T16" fmla="*/ 137 w 137"/>
                <a:gd name="T17" fmla="*/ 40 h 173"/>
                <a:gd name="T18" fmla="*/ 133 w 137"/>
                <a:gd name="T19" fmla="*/ 54 h 173"/>
                <a:gd name="T20" fmla="*/ 125 w 137"/>
                <a:gd name="T21" fmla="*/ 69 h 173"/>
                <a:gd name="T22" fmla="*/ 121 w 137"/>
                <a:gd name="T23" fmla="*/ 77 h 173"/>
                <a:gd name="T24" fmla="*/ 119 w 137"/>
                <a:gd name="T25" fmla="*/ 86 h 173"/>
                <a:gd name="T26" fmla="*/ 110 w 137"/>
                <a:gd name="T27" fmla="*/ 92 h 173"/>
                <a:gd name="T28" fmla="*/ 114 w 137"/>
                <a:gd name="T29" fmla="*/ 102 h 173"/>
                <a:gd name="T30" fmla="*/ 123 w 137"/>
                <a:gd name="T31" fmla="*/ 100 h 173"/>
                <a:gd name="T32" fmla="*/ 123 w 137"/>
                <a:gd name="T33" fmla="*/ 117 h 173"/>
                <a:gd name="T34" fmla="*/ 137 w 137"/>
                <a:gd name="T35" fmla="*/ 123 h 173"/>
                <a:gd name="T36" fmla="*/ 137 w 137"/>
                <a:gd name="T37" fmla="*/ 134 h 173"/>
                <a:gd name="T38" fmla="*/ 131 w 137"/>
                <a:gd name="T39" fmla="*/ 146 h 173"/>
                <a:gd name="T40" fmla="*/ 129 w 137"/>
                <a:gd name="T41" fmla="*/ 159 h 173"/>
                <a:gd name="T42" fmla="*/ 114 w 137"/>
                <a:gd name="T43" fmla="*/ 159 h 173"/>
                <a:gd name="T44" fmla="*/ 102 w 137"/>
                <a:gd name="T45" fmla="*/ 165 h 173"/>
                <a:gd name="T46" fmla="*/ 87 w 137"/>
                <a:gd name="T47" fmla="*/ 159 h 173"/>
                <a:gd name="T48" fmla="*/ 73 w 137"/>
                <a:gd name="T49" fmla="*/ 165 h 173"/>
                <a:gd name="T50" fmla="*/ 69 w 137"/>
                <a:gd name="T51" fmla="*/ 161 h 173"/>
                <a:gd name="T52" fmla="*/ 60 w 137"/>
                <a:gd name="T53" fmla="*/ 161 h 173"/>
                <a:gd name="T54" fmla="*/ 56 w 137"/>
                <a:gd name="T55" fmla="*/ 169 h 173"/>
                <a:gd name="T56" fmla="*/ 48 w 137"/>
                <a:gd name="T57" fmla="*/ 173 h 173"/>
                <a:gd name="T58" fmla="*/ 46 w 137"/>
                <a:gd name="T59" fmla="*/ 159 h 173"/>
                <a:gd name="T60" fmla="*/ 46 w 137"/>
                <a:gd name="T61" fmla="*/ 146 h 173"/>
                <a:gd name="T62" fmla="*/ 50 w 137"/>
                <a:gd name="T63" fmla="*/ 125 h 173"/>
                <a:gd name="T64" fmla="*/ 37 w 137"/>
                <a:gd name="T65" fmla="*/ 121 h 173"/>
                <a:gd name="T66" fmla="*/ 33 w 137"/>
                <a:gd name="T67" fmla="*/ 119 h 173"/>
                <a:gd name="T68" fmla="*/ 33 w 137"/>
                <a:gd name="T69" fmla="*/ 100 h 173"/>
                <a:gd name="T70" fmla="*/ 44 w 137"/>
                <a:gd name="T71" fmla="*/ 88 h 173"/>
                <a:gd name="T72" fmla="*/ 35 w 137"/>
                <a:gd name="T73" fmla="*/ 73 h 173"/>
                <a:gd name="T74" fmla="*/ 23 w 137"/>
                <a:gd name="T75" fmla="*/ 71 h 173"/>
                <a:gd name="T76" fmla="*/ 6 w 137"/>
                <a:gd name="T77" fmla="*/ 54 h 173"/>
                <a:gd name="T78" fmla="*/ 0 w 137"/>
                <a:gd name="T79" fmla="*/ 54 h 173"/>
                <a:gd name="T80" fmla="*/ 14 w 137"/>
                <a:gd name="T81" fmla="*/ 34 h 173"/>
                <a:gd name="T82" fmla="*/ 29 w 137"/>
                <a:gd name="T83" fmla="*/ 29 h 173"/>
                <a:gd name="T84" fmla="*/ 31 w 137"/>
                <a:gd name="T85" fmla="*/ 13 h 173"/>
                <a:gd name="T86" fmla="*/ 31 w 137"/>
                <a:gd name="T87" fmla="*/ 11 h 173"/>
                <a:gd name="T88" fmla="*/ 31 w 137"/>
                <a:gd name="T89" fmla="*/ 11 h 173"/>
                <a:gd name="T90" fmla="*/ 60 w 137"/>
                <a:gd name="T91" fmla="*/ 73 h 173"/>
                <a:gd name="T92" fmla="*/ 62 w 137"/>
                <a:gd name="T93" fmla="*/ 81 h 173"/>
                <a:gd name="T94" fmla="*/ 60 w 137"/>
                <a:gd name="T95" fmla="*/ 88 h 173"/>
                <a:gd name="T96" fmla="*/ 58 w 137"/>
                <a:gd name="T97" fmla="*/ 98 h 173"/>
                <a:gd name="T98" fmla="*/ 69 w 137"/>
                <a:gd name="T99" fmla="*/ 98 h 173"/>
                <a:gd name="T100" fmla="*/ 75 w 137"/>
                <a:gd name="T101" fmla="*/ 92 h 173"/>
                <a:gd name="T102" fmla="*/ 81 w 137"/>
                <a:gd name="T103" fmla="*/ 98 h 173"/>
                <a:gd name="T104" fmla="*/ 89 w 137"/>
                <a:gd name="T105" fmla="*/ 98 h 173"/>
                <a:gd name="T106" fmla="*/ 89 w 137"/>
                <a:gd name="T107" fmla="*/ 86 h 173"/>
                <a:gd name="T108" fmla="*/ 98 w 137"/>
                <a:gd name="T109" fmla="*/ 77 h 173"/>
                <a:gd name="T110" fmla="*/ 87 w 137"/>
                <a:gd name="T111" fmla="*/ 69 h 173"/>
                <a:gd name="T112" fmla="*/ 85 w 137"/>
                <a:gd name="T113" fmla="*/ 56 h 173"/>
                <a:gd name="T114" fmla="*/ 73 w 137"/>
                <a:gd name="T115" fmla="*/ 61 h 173"/>
                <a:gd name="T116" fmla="*/ 73 w 137"/>
                <a:gd name="T117" fmla="*/ 73 h 173"/>
                <a:gd name="T118" fmla="*/ 60 w 137"/>
                <a:gd name="T119" fmla="*/ 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73">
                  <a:moveTo>
                    <a:pt x="31" y="11"/>
                  </a:moveTo>
                  <a:lnTo>
                    <a:pt x="44" y="11"/>
                  </a:lnTo>
                  <a:lnTo>
                    <a:pt x="56" y="0"/>
                  </a:lnTo>
                  <a:lnTo>
                    <a:pt x="64" y="17"/>
                  </a:lnTo>
                  <a:lnTo>
                    <a:pt x="77" y="19"/>
                  </a:lnTo>
                  <a:lnTo>
                    <a:pt x="94" y="27"/>
                  </a:lnTo>
                  <a:lnTo>
                    <a:pt x="102" y="27"/>
                  </a:lnTo>
                  <a:lnTo>
                    <a:pt x="121" y="36"/>
                  </a:lnTo>
                  <a:lnTo>
                    <a:pt x="137" y="40"/>
                  </a:lnTo>
                  <a:lnTo>
                    <a:pt x="133" y="54"/>
                  </a:lnTo>
                  <a:lnTo>
                    <a:pt x="125" y="69"/>
                  </a:lnTo>
                  <a:lnTo>
                    <a:pt x="121" y="77"/>
                  </a:lnTo>
                  <a:lnTo>
                    <a:pt x="119" y="86"/>
                  </a:lnTo>
                  <a:lnTo>
                    <a:pt x="110" y="92"/>
                  </a:lnTo>
                  <a:lnTo>
                    <a:pt x="114" y="102"/>
                  </a:lnTo>
                  <a:lnTo>
                    <a:pt x="123" y="100"/>
                  </a:lnTo>
                  <a:lnTo>
                    <a:pt x="123" y="117"/>
                  </a:lnTo>
                  <a:lnTo>
                    <a:pt x="137" y="123"/>
                  </a:lnTo>
                  <a:lnTo>
                    <a:pt x="137" y="134"/>
                  </a:lnTo>
                  <a:lnTo>
                    <a:pt x="131" y="146"/>
                  </a:lnTo>
                  <a:lnTo>
                    <a:pt x="129" y="159"/>
                  </a:lnTo>
                  <a:lnTo>
                    <a:pt x="114" y="159"/>
                  </a:lnTo>
                  <a:lnTo>
                    <a:pt x="102" y="165"/>
                  </a:lnTo>
                  <a:lnTo>
                    <a:pt x="87" y="159"/>
                  </a:lnTo>
                  <a:lnTo>
                    <a:pt x="73" y="165"/>
                  </a:lnTo>
                  <a:lnTo>
                    <a:pt x="69" y="161"/>
                  </a:lnTo>
                  <a:lnTo>
                    <a:pt x="60" y="161"/>
                  </a:lnTo>
                  <a:lnTo>
                    <a:pt x="56" y="169"/>
                  </a:lnTo>
                  <a:lnTo>
                    <a:pt x="48" y="173"/>
                  </a:lnTo>
                  <a:lnTo>
                    <a:pt x="46" y="159"/>
                  </a:lnTo>
                  <a:lnTo>
                    <a:pt x="46" y="146"/>
                  </a:lnTo>
                  <a:lnTo>
                    <a:pt x="50" y="125"/>
                  </a:lnTo>
                  <a:lnTo>
                    <a:pt x="37" y="121"/>
                  </a:lnTo>
                  <a:lnTo>
                    <a:pt x="33" y="119"/>
                  </a:lnTo>
                  <a:lnTo>
                    <a:pt x="33" y="100"/>
                  </a:lnTo>
                  <a:lnTo>
                    <a:pt x="44" y="88"/>
                  </a:lnTo>
                  <a:lnTo>
                    <a:pt x="35" y="73"/>
                  </a:lnTo>
                  <a:lnTo>
                    <a:pt x="23" y="7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14" y="34"/>
                  </a:lnTo>
                  <a:lnTo>
                    <a:pt x="29" y="29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close/>
                  <a:moveTo>
                    <a:pt x="60" y="73"/>
                  </a:moveTo>
                  <a:lnTo>
                    <a:pt x="62" y="81"/>
                  </a:lnTo>
                  <a:lnTo>
                    <a:pt x="60" y="88"/>
                  </a:lnTo>
                  <a:lnTo>
                    <a:pt x="58" y="98"/>
                  </a:lnTo>
                  <a:lnTo>
                    <a:pt x="69" y="98"/>
                  </a:lnTo>
                  <a:lnTo>
                    <a:pt x="75" y="92"/>
                  </a:lnTo>
                  <a:lnTo>
                    <a:pt x="81" y="98"/>
                  </a:lnTo>
                  <a:lnTo>
                    <a:pt x="89" y="98"/>
                  </a:lnTo>
                  <a:lnTo>
                    <a:pt x="89" y="86"/>
                  </a:lnTo>
                  <a:lnTo>
                    <a:pt x="98" y="77"/>
                  </a:lnTo>
                  <a:lnTo>
                    <a:pt x="87" y="69"/>
                  </a:lnTo>
                  <a:lnTo>
                    <a:pt x="85" y="56"/>
                  </a:lnTo>
                  <a:lnTo>
                    <a:pt x="73" y="61"/>
                  </a:lnTo>
                  <a:lnTo>
                    <a:pt x="73" y="73"/>
                  </a:lnTo>
                  <a:lnTo>
                    <a:pt x="60" y="73"/>
                  </a:lnTo>
                  <a:close/>
                </a:path>
              </a:pathLst>
            </a:custGeom>
            <a:no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0" name="Магаданская обл.">
              <a:extLst>
                <a:ext uri="{FF2B5EF4-FFF2-40B4-BE49-F238E27FC236}">
                  <a16:creationId xmlns:a16="http://schemas.microsoft.com/office/drawing/2014/main" id="{7DD4CE6D-0B73-EC37-6E40-F117C66D4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0529" y="2115930"/>
              <a:ext cx="1075266" cy="1286700"/>
            </a:xfrm>
            <a:custGeom>
              <a:avLst/>
              <a:gdLst>
                <a:gd name="T0" fmla="*/ 193 w 202"/>
                <a:gd name="T1" fmla="*/ 56 h 271"/>
                <a:gd name="T2" fmla="*/ 200 w 202"/>
                <a:gd name="T3" fmla="*/ 95 h 271"/>
                <a:gd name="T4" fmla="*/ 181 w 202"/>
                <a:gd name="T5" fmla="*/ 88 h 271"/>
                <a:gd name="T6" fmla="*/ 164 w 202"/>
                <a:gd name="T7" fmla="*/ 88 h 271"/>
                <a:gd name="T8" fmla="*/ 155 w 202"/>
                <a:gd name="T9" fmla="*/ 104 h 271"/>
                <a:gd name="T10" fmla="*/ 154 w 202"/>
                <a:gd name="T11" fmla="*/ 124 h 271"/>
                <a:gd name="T12" fmla="*/ 164 w 202"/>
                <a:gd name="T13" fmla="*/ 144 h 271"/>
                <a:gd name="T14" fmla="*/ 167 w 202"/>
                <a:gd name="T15" fmla="*/ 169 h 271"/>
                <a:gd name="T16" fmla="*/ 176 w 202"/>
                <a:gd name="T17" fmla="*/ 184 h 271"/>
                <a:gd name="T18" fmla="*/ 193 w 202"/>
                <a:gd name="T19" fmla="*/ 181 h 271"/>
                <a:gd name="T20" fmla="*/ 187 w 202"/>
                <a:gd name="T21" fmla="*/ 198 h 271"/>
                <a:gd name="T22" fmla="*/ 178 w 202"/>
                <a:gd name="T23" fmla="*/ 213 h 271"/>
                <a:gd name="T24" fmla="*/ 163 w 202"/>
                <a:gd name="T25" fmla="*/ 231 h 271"/>
                <a:gd name="T26" fmla="*/ 161 w 202"/>
                <a:gd name="T27" fmla="*/ 217 h 271"/>
                <a:gd name="T28" fmla="*/ 147 w 202"/>
                <a:gd name="T29" fmla="*/ 227 h 271"/>
                <a:gd name="T30" fmla="*/ 127 w 202"/>
                <a:gd name="T31" fmla="*/ 241 h 271"/>
                <a:gd name="T32" fmla="*/ 130 w 202"/>
                <a:gd name="T33" fmla="*/ 255 h 271"/>
                <a:gd name="T34" fmla="*/ 113 w 202"/>
                <a:gd name="T35" fmla="*/ 269 h 271"/>
                <a:gd name="T36" fmla="*/ 103 w 202"/>
                <a:gd name="T37" fmla="*/ 260 h 271"/>
                <a:gd name="T38" fmla="*/ 89 w 202"/>
                <a:gd name="T39" fmla="*/ 260 h 271"/>
                <a:gd name="T40" fmla="*/ 74 w 202"/>
                <a:gd name="T41" fmla="*/ 266 h 271"/>
                <a:gd name="T42" fmla="*/ 75 w 202"/>
                <a:gd name="T43" fmla="*/ 253 h 271"/>
                <a:gd name="T44" fmla="*/ 75 w 202"/>
                <a:gd name="T45" fmla="*/ 245 h 271"/>
                <a:gd name="T46" fmla="*/ 59 w 202"/>
                <a:gd name="T47" fmla="*/ 230 h 271"/>
                <a:gd name="T48" fmla="*/ 36 w 202"/>
                <a:gd name="T49" fmla="*/ 238 h 271"/>
                <a:gd name="T50" fmla="*/ 30 w 202"/>
                <a:gd name="T51" fmla="*/ 227 h 271"/>
                <a:gd name="T52" fmla="*/ 10 w 202"/>
                <a:gd name="T53" fmla="*/ 208 h 271"/>
                <a:gd name="T54" fmla="*/ 4 w 202"/>
                <a:gd name="T55" fmla="*/ 189 h 271"/>
                <a:gd name="T56" fmla="*/ 7 w 202"/>
                <a:gd name="T57" fmla="*/ 176 h 271"/>
                <a:gd name="T58" fmla="*/ 18 w 202"/>
                <a:gd name="T59" fmla="*/ 171 h 271"/>
                <a:gd name="T60" fmla="*/ 9 w 202"/>
                <a:gd name="T61" fmla="*/ 159 h 271"/>
                <a:gd name="T62" fmla="*/ 22 w 202"/>
                <a:gd name="T63" fmla="*/ 149 h 271"/>
                <a:gd name="T64" fmla="*/ 30 w 202"/>
                <a:gd name="T65" fmla="*/ 142 h 271"/>
                <a:gd name="T66" fmla="*/ 39 w 202"/>
                <a:gd name="T67" fmla="*/ 131 h 271"/>
                <a:gd name="T68" fmla="*/ 48 w 202"/>
                <a:gd name="T69" fmla="*/ 119 h 271"/>
                <a:gd name="T70" fmla="*/ 34 w 202"/>
                <a:gd name="T71" fmla="*/ 101 h 271"/>
                <a:gd name="T72" fmla="*/ 25 w 202"/>
                <a:gd name="T73" fmla="*/ 79 h 271"/>
                <a:gd name="T74" fmla="*/ 25 w 202"/>
                <a:gd name="T75" fmla="*/ 69 h 271"/>
                <a:gd name="T76" fmla="*/ 29 w 202"/>
                <a:gd name="T77" fmla="*/ 61 h 271"/>
                <a:gd name="T78" fmla="*/ 38 w 202"/>
                <a:gd name="T79" fmla="*/ 51 h 271"/>
                <a:gd name="T80" fmla="*/ 50 w 202"/>
                <a:gd name="T81" fmla="*/ 43 h 271"/>
                <a:gd name="T82" fmla="*/ 50 w 202"/>
                <a:gd name="T83" fmla="*/ 26 h 271"/>
                <a:gd name="T84" fmla="*/ 55 w 202"/>
                <a:gd name="T85" fmla="*/ 17 h 271"/>
                <a:gd name="T86" fmla="*/ 72 w 202"/>
                <a:gd name="T87" fmla="*/ 27 h 271"/>
                <a:gd name="T88" fmla="*/ 94 w 202"/>
                <a:gd name="T89" fmla="*/ 24 h 271"/>
                <a:gd name="T90" fmla="*/ 109 w 202"/>
                <a:gd name="T91" fmla="*/ 14 h 271"/>
                <a:gd name="T92" fmla="*/ 131 w 202"/>
                <a:gd name="T93" fmla="*/ 2 h 271"/>
                <a:gd name="T94" fmla="*/ 139 w 202"/>
                <a:gd name="T95" fmla="*/ 16 h 271"/>
                <a:gd name="T96" fmla="*/ 147 w 202"/>
                <a:gd name="T97" fmla="*/ 20 h 271"/>
                <a:gd name="T98" fmla="*/ 157 w 202"/>
                <a:gd name="T99" fmla="*/ 32 h 271"/>
                <a:gd name="T100" fmla="*/ 174 w 202"/>
                <a:gd name="T101" fmla="*/ 35 h 271"/>
                <a:gd name="T102" fmla="*/ 179 w 202"/>
                <a:gd name="T103" fmla="*/ 52 h 271"/>
                <a:gd name="T104" fmla="*/ 187 w 202"/>
                <a:gd name="T105" fmla="*/ 5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2" h="271">
                  <a:moveTo>
                    <a:pt x="193" y="55"/>
                  </a:moveTo>
                  <a:cubicBezTo>
                    <a:pt x="193" y="55"/>
                    <a:pt x="193" y="55"/>
                    <a:pt x="193" y="56"/>
                  </a:cubicBezTo>
                  <a:cubicBezTo>
                    <a:pt x="194" y="58"/>
                    <a:pt x="199" y="80"/>
                    <a:pt x="200" y="84"/>
                  </a:cubicBezTo>
                  <a:cubicBezTo>
                    <a:pt x="201" y="89"/>
                    <a:pt x="202" y="94"/>
                    <a:pt x="200" y="95"/>
                  </a:cubicBezTo>
                  <a:cubicBezTo>
                    <a:pt x="199" y="95"/>
                    <a:pt x="195" y="89"/>
                    <a:pt x="192" y="90"/>
                  </a:cubicBezTo>
                  <a:cubicBezTo>
                    <a:pt x="189" y="92"/>
                    <a:pt x="184" y="91"/>
                    <a:pt x="181" y="88"/>
                  </a:cubicBezTo>
                  <a:cubicBezTo>
                    <a:pt x="178" y="86"/>
                    <a:pt x="175" y="76"/>
                    <a:pt x="171" y="78"/>
                  </a:cubicBezTo>
                  <a:cubicBezTo>
                    <a:pt x="168" y="81"/>
                    <a:pt x="166" y="88"/>
                    <a:pt x="164" y="88"/>
                  </a:cubicBezTo>
                  <a:cubicBezTo>
                    <a:pt x="162" y="88"/>
                    <a:pt x="160" y="90"/>
                    <a:pt x="158" y="93"/>
                  </a:cubicBezTo>
                  <a:cubicBezTo>
                    <a:pt x="156" y="95"/>
                    <a:pt x="158" y="101"/>
                    <a:pt x="155" y="104"/>
                  </a:cubicBezTo>
                  <a:cubicBezTo>
                    <a:pt x="152" y="107"/>
                    <a:pt x="151" y="109"/>
                    <a:pt x="151" y="114"/>
                  </a:cubicBezTo>
                  <a:cubicBezTo>
                    <a:pt x="152" y="118"/>
                    <a:pt x="149" y="119"/>
                    <a:pt x="154" y="124"/>
                  </a:cubicBezTo>
                  <a:cubicBezTo>
                    <a:pt x="160" y="128"/>
                    <a:pt x="159" y="129"/>
                    <a:pt x="160" y="133"/>
                  </a:cubicBezTo>
                  <a:cubicBezTo>
                    <a:pt x="160" y="137"/>
                    <a:pt x="161" y="140"/>
                    <a:pt x="164" y="144"/>
                  </a:cubicBezTo>
                  <a:cubicBezTo>
                    <a:pt x="166" y="149"/>
                    <a:pt x="163" y="151"/>
                    <a:pt x="163" y="155"/>
                  </a:cubicBezTo>
                  <a:cubicBezTo>
                    <a:pt x="162" y="159"/>
                    <a:pt x="164" y="164"/>
                    <a:pt x="167" y="169"/>
                  </a:cubicBezTo>
                  <a:cubicBezTo>
                    <a:pt x="170" y="173"/>
                    <a:pt x="171" y="175"/>
                    <a:pt x="171" y="178"/>
                  </a:cubicBezTo>
                  <a:cubicBezTo>
                    <a:pt x="171" y="182"/>
                    <a:pt x="175" y="184"/>
                    <a:pt x="176" y="184"/>
                  </a:cubicBezTo>
                  <a:cubicBezTo>
                    <a:pt x="178" y="184"/>
                    <a:pt x="181" y="181"/>
                    <a:pt x="182" y="178"/>
                  </a:cubicBezTo>
                  <a:cubicBezTo>
                    <a:pt x="182" y="174"/>
                    <a:pt x="191" y="175"/>
                    <a:pt x="193" y="181"/>
                  </a:cubicBezTo>
                  <a:cubicBezTo>
                    <a:pt x="194" y="186"/>
                    <a:pt x="189" y="186"/>
                    <a:pt x="187" y="189"/>
                  </a:cubicBezTo>
                  <a:cubicBezTo>
                    <a:pt x="186" y="193"/>
                    <a:pt x="191" y="197"/>
                    <a:pt x="187" y="198"/>
                  </a:cubicBezTo>
                  <a:cubicBezTo>
                    <a:pt x="183" y="199"/>
                    <a:pt x="180" y="200"/>
                    <a:pt x="179" y="203"/>
                  </a:cubicBezTo>
                  <a:cubicBezTo>
                    <a:pt x="178" y="206"/>
                    <a:pt x="178" y="209"/>
                    <a:pt x="178" y="213"/>
                  </a:cubicBezTo>
                  <a:cubicBezTo>
                    <a:pt x="177" y="216"/>
                    <a:pt x="173" y="214"/>
                    <a:pt x="172" y="218"/>
                  </a:cubicBezTo>
                  <a:cubicBezTo>
                    <a:pt x="171" y="223"/>
                    <a:pt x="168" y="231"/>
                    <a:pt x="163" y="231"/>
                  </a:cubicBezTo>
                  <a:cubicBezTo>
                    <a:pt x="158" y="230"/>
                    <a:pt x="155" y="228"/>
                    <a:pt x="158" y="224"/>
                  </a:cubicBezTo>
                  <a:cubicBezTo>
                    <a:pt x="161" y="221"/>
                    <a:pt x="165" y="217"/>
                    <a:pt x="161" y="217"/>
                  </a:cubicBezTo>
                  <a:cubicBezTo>
                    <a:pt x="158" y="217"/>
                    <a:pt x="155" y="216"/>
                    <a:pt x="150" y="219"/>
                  </a:cubicBezTo>
                  <a:cubicBezTo>
                    <a:pt x="145" y="222"/>
                    <a:pt x="152" y="227"/>
                    <a:pt x="147" y="227"/>
                  </a:cubicBezTo>
                  <a:cubicBezTo>
                    <a:pt x="142" y="227"/>
                    <a:pt x="133" y="229"/>
                    <a:pt x="130" y="232"/>
                  </a:cubicBezTo>
                  <a:cubicBezTo>
                    <a:pt x="127" y="235"/>
                    <a:pt x="126" y="236"/>
                    <a:pt x="127" y="241"/>
                  </a:cubicBezTo>
                  <a:cubicBezTo>
                    <a:pt x="128" y="246"/>
                    <a:pt x="131" y="245"/>
                    <a:pt x="129" y="247"/>
                  </a:cubicBezTo>
                  <a:cubicBezTo>
                    <a:pt x="127" y="249"/>
                    <a:pt x="136" y="251"/>
                    <a:pt x="130" y="255"/>
                  </a:cubicBezTo>
                  <a:cubicBezTo>
                    <a:pt x="125" y="259"/>
                    <a:pt x="121" y="255"/>
                    <a:pt x="120" y="260"/>
                  </a:cubicBezTo>
                  <a:cubicBezTo>
                    <a:pt x="119" y="265"/>
                    <a:pt x="117" y="266"/>
                    <a:pt x="113" y="269"/>
                  </a:cubicBezTo>
                  <a:cubicBezTo>
                    <a:pt x="111" y="270"/>
                    <a:pt x="110" y="271"/>
                    <a:pt x="108" y="271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89" y="260"/>
                    <a:pt x="89" y="260"/>
                    <a:pt x="89" y="260"/>
                  </a:cubicBezTo>
                  <a:cubicBezTo>
                    <a:pt x="81" y="268"/>
                    <a:pt x="81" y="268"/>
                    <a:pt x="81" y="268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5" y="253"/>
                    <a:pt x="75" y="253"/>
                    <a:pt x="75" y="253"/>
                  </a:cubicBezTo>
                  <a:cubicBezTo>
                    <a:pt x="80" y="251"/>
                    <a:pt x="80" y="251"/>
                    <a:pt x="80" y="251"/>
                  </a:cubicBezTo>
                  <a:cubicBezTo>
                    <a:pt x="75" y="245"/>
                    <a:pt x="75" y="245"/>
                    <a:pt x="75" y="245"/>
                  </a:cubicBezTo>
                  <a:cubicBezTo>
                    <a:pt x="75" y="240"/>
                    <a:pt x="75" y="240"/>
                    <a:pt x="75" y="24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36" y="238"/>
                    <a:pt x="36" y="238"/>
                    <a:pt x="36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27"/>
                    <a:pt x="30" y="227"/>
                    <a:pt x="30" y="227"/>
                  </a:cubicBezTo>
                  <a:cubicBezTo>
                    <a:pt x="21" y="220"/>
                    <a:pt x="21" y="220"/>
                    <a:pt x="21" y="220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5" y="197"/>
                    <a:pt x="5" y="197"/>
                    <a:pt x="5" y="197"/>
                  </a:cubicBezTo>
                  <a:cubicBezTo>
                    <a:pt x="4" y="189"/>
                    <a:pt x="4" y="189"/>
                    <a:pt x="4" y="189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54"/>
                    <a:pt x="187" y="54"/>
                    <a:pt x="187" y="54"/>
                  </a:cubicBezTo>
                  <a:lnTo>
                    <a:pt x="193" y="5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1" name="Липецкая обл.">
              <a:extLst>
                <a:ext uri="{FF2B5EF4-FFF2-40B4-BE49-F238E27FC236}">
                  <a16:creationId xmlns:a16="http://schemas.microsoft.com/office/drawing/2014/main" id="{15628142-31B0-E64F-944B-DBFAA5EC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423" y="4299905"/>
              <a:ext cx="319260" cy="250508"/>
            </a:xfrm>
            <a:custGeom>
              <a:avLst/>
              <a:gdLst>
                <a:gd name="T0" fmla="*/ 2 w 125"/>
                <a:gd name="T1" fmla="*/ 39 h 110"/>
                <a:gd name="T2" fmla="*/ 21 w 125"/>
                <a:gd name="T3" fmla="*/ 33 h 110"/>
                <a:gd name="T4" fmla="*/ 25 w 125"/>
                <a:gd name="T5" fmla="*/ 29 h 110"/>
                <a:gd name="T6" fmla="*/ 21 w 125"/>
                <a:gd name="T7" fmla="*/ 22 h 110"/>
                <a:gd name="T8" fmla="*/ 31 w 125"/>
                <a:gd name="T9" fmla="*/ 14 h 110"/>
                <a:gd name="T10" fmla="*/ 37 w 125"/>
                <a:gd name="T11" fmla="*/ 2 h 110"/>
                <a:gd name="T12" fmla="*/ 52 w 125"/>
                <a:gd name="T13" fmla="*/ 0 h 110"/>
                <a:gd name="T14" fmla="*/ 60 w 125"/>
                <a:gd name="T15" fmla="*/ 14 h 110"/>
                <a:gd name="T16" fmla="*/ 71 w 125"/>
                <a:gd name="T17" fmla="*/ 14 h 110"/>
                <a:gd name="T18" fmla="*/ 75 w 125"/>
                <a:gd name="T19" fmla="*/ 4 h 110"/>
                <a:gd name="T20" fmla="*/ 87 w 125"/>
                <a:gd name="T21" fmla="*/ 4 h 110"/>
                <a:gd name="T22" fmla="*/ 94 w 125"/>
                <a:gd name="T23" fmla="*/ 0 h 110"/>
                <a:gd name="T24" fmla="*/ 100 w 125"/>
                <a:gd name="T25" fmla="*/ 2 h 110"/>
                <a:gd name="T26" fmla="*/ 100 w 125"/>
                <a:gd name="T27" fmla="*/ 12 h 110"/>
                <a:gd name="T28" fmla="*/ 102 w 125"/>
                <a:gd name="T29" fmla="*/ 20 h 110"/>
                <a:gd name="T30" fmla="*/ 112 w 125"/>
                <a:gd name="T31" fmla="*/ 14 h 110"/>
                <a:gd name="T32" fmla="*/ 123 w 125"/>
                <a:gd name="T33" fmla="*/ 25 h 110"/>
                <a:gd name="T34" fmla="*/ 125 w 125"/>
                <a:gd name="T35" fmla="*/ 43 h 110"/>
                <a:gd name="T36" fmla="*/ 121 w 125"/>
                <a:gd name="T37" fmla="*/ 43 h 110"/>
                <a:gd name="T38" fmla="*/ 100 w 125"/>
                <a:gd name="T39" fmla="*/ 62 h 110"/>
                <a:gd name="T40" fmla="*/ 87 w 125"/>
                <a:gd name="T41" fmla="*/ 70 h 110"/>
                <a:gd name="T42" fmla="*/ 92 w 125"/>
                <a:gd name="T43" fmla="*/ 77 h 110"/>
                <a:gd name="T44" fmla="*/ 92 w 125"/>
                <a:gd name="T45" fmla="*/ 93 h 110"/>
                <a:gd name="T46" fmla="*/ 96 w 125"/>
                <a:gd name="T47" fmla="*/ 97 h 110"/>
                <a:gd name="T48" fmla="*/ 94 w 125"/>
                <a:gd name="T49" fmla="*/ 110 h 110"/>
                <a:gd name="T50" fmla="*/ 73 w 125"/>
                <a:gd name="T51" fmla="*/ 110 h 110"/>
                <a:gd name="T52" fmla="*/ 67 w 125"/>
                <a:gd name="T53" fmla="*/ 100 h 110"/>
                <a:gd name="T54" fmla="*/ 54 w 125"/>
                <a:gd name="T55" fmla="*/ 95 h 110"/>
                <a:gd name="T56" fmla="*/ 48 w 125"/>
                <a:gd name="T57" fmla="*/ 93 h 110"/>
                <a:gd name="T58" fmla="*/ 50 w 125"/>
                <a:gd name="T59" fmla="*/ 79 h 110"/>
                <a:gd name="T60" fmla="*/ 35 w 125"/>
                <a:gd name="T61" fmla="*/ 75 h 110"/>
                <a:gd name="T62" fmla="*/ 29 w 125"/>
                <a:gd name="T63" fmla="*/ 62 h 110"/>
                <a:gd name="T64" fmla="*/ 17 w 125"/>
                <a:gd name="T65" fmla="*/ 64 h 110"/>
                <a:gd name="T66" fmla="*/ 17 w 125"/>
                <a:gd name="T67" fmla="*/ 64 h 110"/>
                <a:gd name="T68" fmla="*/ 0 w 125"/>
                <a:gd name="T69" fmla="*/ 50 h 110"/>
                <a:gd name="T70" fmla="*/ 2 w 125"/>
                <a:gd name="T71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" h="110">
                  <a:moveTo>
                    <a:pt x="2" y="39"/>
                  </a:moveTo>
                  <a:lnTo>
                    <a:pt x="21" y="33"/>
                  </a:lnTo>
                  <a:lnTo>
                    <a:pt x="25" y="29"/>
                  </a:lnTo>
                  <a:lnTo>
                    <a:pt x="21" y="22"/>
                  </a:lnTo>
                  <a:lnTo>
                    <a:pt x="31" y="14"/>
                  </a:lnTo>
                  <a:lnTo>
                    <a:pt x="37" y="2"/>
                  </a:lnTo>
                  <a:lnTo>
                    <a:pt x="52" y="0"/>
                  </a:lnTo>
                  <a:lnTo>
                    <a:pt x="60" y="14"/>
                  </a:lnTo>
                  <a:lnTo>
                    <a:pt x="71" y="14"/>
                  </a:lnTo>
                  <a:lnTo>
                    <a:pt x="75" y="4"/>
                  </a:lnTo>
                  <a:lnTo>
                    <a:pt x="87" y="4"/>
                  </a:lnTo>
                  <a:lnTo>
                    <a:pt x="94" y="0"/>
                  </a:lnTo>
                  <a:lnTo>
                    <a:pt x="100" y="2"/>
                  </a:lnTo>
                  <a:lnTo>
                    <a:pt x="100" y="12"/>
                  </a:lnTo>
                  <a:lnTo>
                    <a:pt x="102" y="20"/>
                  </a:lnTo>
                  <a:lnTo>
                    <a:pt x="112" y="14"/>
                  </a:lnTo>
                  <a:lnTo>
                    <a:pt x="123" y="25"/>
                  </a:lnTo>
                  <a:lnTo>
                    <a:pt x="125" y="43"/>
                  </a:lnTo>
                  <a:lnTo>
                    <a:pt x="121" y="43"/>
                  </a:lnTo>
                  <a:lnTo>
                    <a:pt x="100" y="62"/>
                  </a:lnTo>
                  <a:lnTo>
                    <a:pt x="87" y="70"/>
                  </a:lnTo>
                  <a:lnTo>
                    <a:pt x="92" y="77"/>
                  </a:lnTo>
                  <a:lnTo>
                    <a:pt x="92" y="93"/>
                  </a:lnTo>
                  <a:lnTo>
                    <a:pt x="96" y="97"/>
                  </a:lnTo>
                  <a:lnTo>
                    <a:pt x="94" y="110"/>
                  </a:lnTo>
                  <a:lnTo>
                    <a:pt x="73" y="110"/>
                  </a:lnTo>
                  <a:lnTo>
                    <a:pt x="67" y="100"/>
                  </a:lnTo>
                  <a:lnTo>
                    <a:pt x="54" y="95"/>
                  </a:lnTo>
                  <a:lnTo>
                    <a:pt x="48" y="93"/>
                  </a:lnTo>
                  <a:lnTo>
                    <a:pt x="50" y="79"/>
                  </a:lnTo>
                  <a:lnTo>
                    <a:pt x="35" y="75"/>
                  </a:lnTo>
                  <a:lnTo>
                    <a:pt x="29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0" y="50"/>
                  </a:lnTo>
                  <a:lnTo>
                    <a:pt x="2" y="3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2" name="Ленинградская обл.">
              <a:extLst>
                <a:ext uri="{FF2B5EF4-FFF2-40B4-BE49-F238E27FC236}">
                  <a16:creationId xmlns:a16="http://schemas.microsoft.com/office/drawing/2014/main" id="{29C647BA-F3FE-9C8A-48BB-909A3C9A1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870" y="3031423"/>
              <a:ext cx="531248" cy="498739"/>
            </a:xfrm>
            <a:custGeom>
              <a:avLst/>
              <a:gdLst>
                <a:gd name="T0" fmla="*/ 16 w 100"/>
                <a:gd name="T1" fmla="*/ 18 h 105"/>
                <a:gd name="T2" fmla="*/ 20 w 100"/>
                <a:gd name="T3" fmla="*/ 15 h 105"/>
                <a:gd name="T4" fmla="*/ 30 w 100"/>
                <a:gd name="T5" fmla="*/ 19 h 105"/>
                <a:gd name="T6" fmla="*/ 37 w 100"/>
                <a:gd name="T7" fmla="*/ 23 h 105"/>
                <a:gd name="T8" fmla="*/ 40 w 100"/>
                <a:gd name="T9" fmla="*/ 26 h 105"/>
                <a:gd name="T10" fmla="*/ 37 w 100"/>
                <a:gd name="T11" fmla="*/ 32 h 105"/>
                <a:gd name="T12" fmla="*/ 45 w 100"/>
                <a:gd name="T13" fmla="*/ 40 h 105"/>
                <a:gd name="T14" fmla="*/ 52 w 100"/>
                <a:gd name="T15" fmla="*/ 32 h 105"/>
                <a:gd name="T16" fmla="*/ 46 w 100"/>
                <a:gd name="T17" fmla="*/ 25 h 105"/>
                <a:gd name="T18" fmla="*/ 45 w 100"/>
                <a:gd name="T19" fmla="*/ 23 h 105"/>
                <a:gd name="T20" fmla="*/ 40 w 100"/>
                <a:gd name="T21" fmla="*/ 14 h 105"/>
                <a:gd name="T22" fmla="*/ 39 w 100"/>
                <a:gd name="T23" fmla="*/ 3 h 105"/>
                <a:gd name="T24" fmla="*/ 35 w 100"/>
                <a:gd name="T25" fmla="*/ 0 h 105"/>
                <a:gd name="T26" fmla="*/ 67 w 100"/>
                <a:gd name="T27" fmla="*/ 0 h 105"/>
                <a:gd name="T28" fmla="*/ 68 w 100"/>
                <a:gd name="T29" fmla="*/ 0 h 105"/>
                <a:gd name="T30" fmla="*/ 68 w 100"/>
                <a:gd name="T31" fmla="*/ 13 h 105"/>
                <a:gd name="T32" fmla="*/ 83 w 100"/>
                <a:gd name="T33" fmla="*/ 58 h 105"/>
                <a:gd name="T34" fmla="*/ 92 w 100"/>
                <a:gd name="T35" fmla="*/ 62 h 105"/>
                <a:gd name="T36" fmla="*/ 100 w 100"/>
                <a:gd name="T37" fmla="*/ 85 h 105"/>
                <a:gd name="T38" fmla="*/ 90 w 100"/>
                <a:gd name="T39" fmla="*/ 103 h 105"/>
                <a:gd name="T40" fmla="*/ 79 w 100"/>
                <a:gd name="T41" fmla="*/ 105 h 105"/>
                <a:gd name="T42" fmla="*/ 74 w 100"/>
                <a:gd name="T43" fmla="*/ 105 h 105"/>
                <a:gd name="T44" fmla="*/ 72 w 100"/>
                <a:gd name="T45" fmla="*/ 97 h 105"/>
                <a:gd name="T46" fmla="*/ 64 w 100"/>
                <a:gd name="T47" fmla="*/ 94 h 105"/>
                <a:gd name="T48" fmla="*/ 68 w 100"/>
                <a:gd name="T49" fmla="*/ 85 h 105"/>
                <a:gd name="T50" fmla="*/ 63 w 100"/>
                <a:gd name="T51" fmla="*/ 83 h 105"/>
                <a:gd name="T52" fmla="*/ 64 w 100"/>
                <a:gd name="T53" fmla="*/ 79 h 105"/>
                <a:gd name="T54" fmla="*/ 57 w 100"/>
                <a:gd name="T55" fmla="*/ 79 h 105"/>
                <a:gd name="T56" fmla="*/ 55 w 100"/>
                <a:gd name="T57" fmla="*/ 81 h 105"/>
                <a:gd name="T58" fmla="*/ 52 w 100"/>
                <a:gd name="T59" fmla="*/ 78 h 105"/>
                <a:gd name="T60" fmla="*/ 54 w 100"/>
                <a:gd name="T61" fmla="*/ 70 h 105"/>
                <a:gd name="T62" fmla="*/ 46 w 100"/>
                <a:gd name="T63" fmla="*/ 64 h 105"/>
                <a:gd name="T64" fmla="*/ 42 w 100"/>
                <a:gd name="T65" fmla="*/ 67 h 105"/>
                <a:gd name="T66" fmla="*/ 38 w 100"/>
                <a:gd name="T67" fmla="*/ 68 h 105"/>
                <a:gd name="T68" fmla="*/ 32 w 100"/>
                <a:gd name="T69" fmla="*/ 65 h 105"/>
                <a:gd name="T70" fmla="*/ 21 w 100"/>
                <a:gd name="T71" fmla="*/ 65 h 105"/>
                <a:gd name="T72" fmla="*/ 20 w 100"/>
                <a:gd name="T73" fmla="*/ 60 h 105"/>
                <a:gd name="T74" fmla="*/ 14 w 100"/>
                <a:gd name="T75" fmla="*/ 64 h 105"/>
                <a:gd name="T76" fmla="*/ 9 w 100"/>
                <a:gd name="T77" fmla="*/ 63 h 105"/>
                <a:gd name="T78" fmla="*/ 9 w 100"/>
                <a:gd name="T79" fmla="*/ 63 h 105"/>
                <a:gd name="T80" fmla="*/ 7 w 100"/>
                <a:gd name="T81" fmla="*/ 56 h 105"/>
                <a:gd name="T82" fmla="*/ 9 w 100"/>
                <a:gd name="T83" fmla="*/ 50 h 105"/>
                <a:gd name="T84" fmla="*/ 8 w 100"/>
                <a:gd name="T85" fmla="*/ 42 h 105"/>
                <a:gd name="T86" fmla="*/ 2 w 100"/>
                <a:gd name="T87" fmla="*/ 35 h 105"/>
                <a:gd name="T88" fmla="*/ 4 w 100"/>
                <a:gd name="T89" fmla="*/ 31 h 105"/>
                <a:gd name="T90" fmla="*/ 0 w 100"/>
                <a:gd name="T91" fmla="*/ 27 h 105"/>
                <a:gd name="T92" fmla="*/ 16 w 100"/>
                <a:gd name="T93" fmla="*/ 26 h 105"/>
                <a:gd name="T94" fmla="*/ 16 w 100"/>
                <a:gd name="T95" fmla="*/ 1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105">
                  <a:moveTo>
                    <a:pt x="16" y="18"/>
                  </a:moveTo>
                  <a:cubicBezTo>
                    <a:pt x="18" y="18"/>
                    <a:pt x="19" y="16"/>
                    <a:pt x="20" y="15"/>
                  </a:cubicBezTo>
                  <a:cubicBezTo>
                    <a:pt x="22" y="11"/>
                    <a:pt x="29" y="16"/>
                    <a:pt x="30" y="19"/>
                  </a:cubicBezTo>
                  <a:cubicBezTo>
                    <a:pt x="32" y="23"/>
                    <a:pt x="35" y="22"/>
                    <a:pt x="37" y="23"/>
                  </a:cubicBezTo>
                  <a:cubicBezTo>
                    <a:pt x="38" y="23"/>
                    <a:pt x="39" y="25"/>
                    <a:pt x="40" y="26"/>
                  </a:cubicBezTo>
                  <a:cubicBezTo>
                    <a:pt x="39" y="28"/>
                    <a:pt x="37" y="30"/>
                    <a:pt x="37" y="32"/>
                  </a:cubicBezTo>
                  <a:cubicBezTo>
                    <a:pt x="37" y="36"/>
                    <a:pt x="41" y="40"/>
                    <a:pt x="45" y="40"/>
                  </a:cubicBezTo>
                  <a:cubicBezTo>
                    <a:pt x="49" y="40"/>
                    <a:pt x="52" y="36"/>
                    <a:pt x="52" y="32"/>
                  </a:cubicBezTo>
                  <a:cubicBezTo>
                    <a:pt x="52" y="29"/>
                    <a:pt x="49" y="25"/>
                    <a:pt x="46" y="25"/>
                  </a:cubicBezTo>
                  <a:cubicBezTo>
                    <a:pt x="45" y="24"/>
                    <a:pt x="45" y="24"/>
                    <a:pt x="45" y="23"/>
                  </a:cubicBezTo>
                  <a:cubicBezTo>
                    <a:pt x="40" y="19"/>
                    <a:pt x="39" y="17"/>
                    <a:pt x="40" y="14"/>
                  </a:cubicBezTo>
                  <a:cubicBezTo>
                    <a:pt x="41" y="10"/>
                    <a:pt x="48" y="9"/>
                    <a:pt x="39" y="3"/>
                  </a:cubicBezTo>
                  <a:cubicBezTo>
                    <a:pt x="37" y="2"/>
                    <a:pt x="36" y="1"/>
                    <a:pt x="35" y="0"/>
                  </a:cubicBezTo>
                  <a:cubicBezTo>
                    <a:pt x="46" y="0"/>
                    <a:pt x="60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7"/>
                    <a:pt x="13" y="27"/>
                    <a:pt x="16" y="26"/>
                  </a:cubicBezTo>
                  <a:cubicBezTo>
                    <a:pt x="17" y="25"/>
                    <a:pt x="17" y="22"/>
                    <a:pt x="16" y="18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3" name="Курская  обл.">
              <a:extLst>
                <a:ext uri="{FF2B5EF4-FFF2-40B4-BE49-F238E27FC236}">
                  <a16:creationId xmlns:a16="http://schemas.microsoft.com/office/drawing/2014/main" id="{ADF13F0E-CD8D-210D-CF67-2BCF5D7E5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379" y="4183761"/>
              <a:ext cx="352463" cy="314273"/>
            </a:xfrm>
            <a:custGeom>
              <a:avLst/>
              <a:gdLst>
                <a:gd name="T0" fmla="*/ 4 w 66"/>
                <a:gd name="T1" fmla="*/ 42 h 66"/>
                <a:gd name="T2" fmla="*/ 6 w 66"/>
                <a:gd name="T3" fmla="*/ 40 h 66"/>
                <a:gd name="T4" fmla="*/ 8 w 66"/>
                <a:gd name="T5" fmla="*/ 28 h 66"/>
                <a:gd name="T6" fmla="*/ 2 w 66"/>
                <a:gd name="T7" fmla="*/ 20 h 66"/>
                <a:gd name="T8" fmla="*/ 5 w 66"/>
                <a:gd name="T9" fmla="*/ 8 h 66"/>
                <a:gd name="T10" fmla="*/ 11 w 66"/>
                <a:gd name="T11" fmla="*/ 7 h 66"/>
                <a:gd name="T12" fmla="*/ 14 w 66"/>
                <a:gd name="T13" fmla="*/ 0 h 66"/>
                <a:gd name="T14" fmla="*/ 19 w 66"/>
                <a:gd name="T15" fmla="*/ 0 h 66"/>
                <a:gd name="T16" fmla="*/ 25 w 66"/>
                <a:gd name="T17" fmla="*/ 1 h 66"/>
                <a:gd name="T18" fmla="*/ 30 w 66"/>
                <a:gd name="T19" fmla="*/ 3 h 66"/>
                <a:gd name="T20" fmla="*/ 37 w 66"/>
                <a:gd name="T21" fmla="*/ 7 h 66"/>
                <a:gd name="T22" fmla="*/ 39 w 66"/>
                <a:gd name="T23" fmla="*/ 15 h 66"/>
                <a:gd name="T24" fmla="*/ 43 w 66"/>
                <a:gd name="T25" fmla="*/ 15 h 66"/>
                <a:gd name="T26" fmla="*/ 46 w 66"/>
                <a:gd name="T27" fmla="*/ 22 h 66"/>
                <a:gd name="T28" fmla="*/ 50 w 66"/>
                <a:gd name="T29" fmla="*/ 31 h 66"/>
                <a:gd name="T30" fmla="*/ 51 w 66"/>
                <a:gd name="T31" fmla="*/ 38 h 66"/>
                <a:gd name="T32" fmla="*/ 59 w 66"/>
                <a:gd name="T33" fmla="*/ 43 h 66"/>
                <a:gd name="T34" fmla="*/ 58 w 66"/>
                <a:gd name="T35" fmla="*/ 48 h 66"/>
                <a:gd name="T36" fmla="*/ 66 w 66"/>
                <a:gd name="T37" fmla="*/ 55 h 66"/>
                <a:gd name="T38" fmla="*/ 62 w 66"/>
                <a:gd name="T39" fmla="*/ 57 h 66"/>
                <a:gd name="T40" fmla="*/ 58 w 66"/>
                <a:gd name="T41" fmla="*/ 56 h 66"/>
                <a:gd name="T42" fmla="*/ 55 w 66"/>
                <a:gd name="T43" fmla="*/ 58 h 66"/>
                <a:gd name="T44" fmla="*/ 54 w 66"/>
                <a:gd name="T45" fmla="*/ 64 h 66"/>
                <a:gd name="T46" fmla="*/ 52 w 66"/>
                <a:gd name="T47" fmla="*/ 64 h 66"/>
                <a:gd name="T48" fmla="*/ 51 w 66"/>
                <a:gd name="T49" fmla="*/ 66 h 66"/>
                <a:gd name="T50" fmla="*/ 45 w 66"/>
                <a:gd name="T51" fmla="*/ 57 h 66"/>
                <a:gd name="T52" fmla="*/ 34 w 66"/>
                <a:gd name="T53" fmla="*/ 50 h 66"/>
                <a:gd name="T54" fmla="*/ 24 w 66"/>
                <a:gd name="T55" fmla="*/ 50 h 66"/>
                <a:gd name="T56" fmla="*/ 22 w 66"/>
                <a:gd name="T57" fmla="*/ 44 h 66"/>
                <a:gd name="T58" fmla="*/ 17 w 66"/>
                <a:gd name="T59" fmla="*/ 39 h 66"/>
                <a:gd name="T60" fmla="*/ 16 w 66"/>
                <a:gd name="T61" fmla="*/ 43 h 66"/>
                <a:gd name="T62" fmla="*/ 10 w 66"/>
                <a:gd name="T63" fmla="*/ 43 h 66"/>
                <a:gd name="T64" fmla="*/ 4 w 66"/>
                <a:gd name="T65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66">
                  <a:moveTo>
                    <a:pt x="4" y="42"/>
                  </a:moveTo>
                  <a:cubicBezTo>
                    <a:pt x="5" y="41"/>
                    <a:pt x="6" y="40"/>
                    <a:pt x="6" y="40"/>
                  </a:cubicBezTo>
                  <a:cubicBezTo>
                    <a:pt x="8" y="38"/>
                    <a:pt x="8" y="31"/>
                    <a:pt x="8" y="28"/>
                  </a:cubicBezTo>
                  <a:cubicBezTo>
                    <a:pt x="8" y="25"/>
                    <a:pt x="4" y="22"/>
                    <a:pt x="2" y="20"/>
                  </a:cubicBezTo>
                  <a:cubicBezTo>
                    <a:pt x="0" y="18"/>
                    <a:pt x="3" y="12"/>
                    <a:pt x="5" y="8"/>
                  </a:cubicBezTo>
                  <a:cubicBezTo>
                    <a:pt x="7" y="4"/>
                    <a:pt x="8" y="5"/>
                    <a:pt x="11" y="7"/>
                  </a:cubicBezTo>
                  <a:cubicBezTo>
                    <a:pt x="14" y="9"/>
                    <a:pt x="12" y="3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4" name="Курганская обл.">
              <a:extLst>
                <a:ext uri="{FF2B5EF4-FFF2-40B4-BE49-F238E27FC236}">
                  <a16:creationId xmlns:a16="http://schemas.microsoft.com/office/drawing/2014/main" id="{80770BE2-6BB2-4542-7E7F-719EC2EC4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520" y="4948949"/>
              <a:ext cx="574668" cy="364376"/>
            </a:xfrm>
            <a:custGeom>
              <a:avLst/>
              <a:gdLst>
                <a:gd name="T0" fmla="*/ 107 w 108"/>
                <a:gd name="T1" fmla="*/ 68 h 77"/>
                <a:gd name="T2" fmla="*/ 106 w 108"/>
                <a:gd name="T3" fmla="*/ 68 h 77"/>
                <a:gd name="T4" fmla="*/ 100 w 108"/>
                <a:gd name="T5" fmla="*/ 73 h 77"/>
                <a:gd name="T6" fmla="*/ 87 w 108"/>
                <a:gd name="T7" fmla="*/ 74 h 77"/>
                <a:gd name="T8" fmla="*/ 73 w 108"/>
                <a:gd name="T9" fmla="*/ 73 h 77"/>
                <a:gd name="T10" fmla="*/ 59 w 108"/>
                <a:gd name="T11" fmla="*/ 69 h 77"/>
                <a:gd name="T12" fmla="*/ 47 w 108"/>
                <a:gd name="T13" fmla="*/ 73 h 77"/>
                <a:gd name="T14" fmla="*/ 35 w 108"/>
                <a:gd name="T15" fmla="*/ 70 h 77"/>
                <a:gd name="T16" fmla="*/ 20 w 108"/>
                <a:gd name="T17" fmla="*/ 68 h 77"/>
                <a:gd name="T18" fmla="*/ 14 w 108"/>
                <a:gd name="T19" fmla="*/ 67 h 77"/>
                <a:gd name="T20" fmla="*/ 18 w 108"/>
                <a:gd name="T21" fmla="*/ 60 h 77"/>
                <a:gd name="T22" fmla="*/ 14 w 108"/>
                <a:gd name="T23" fmla="*/ 53 h 77"/>
                <a:gd name="T24" fmla="*/ 7 w 108"/>
                <a:gd name="T25" fmla="*/ 51 h 77"/>
                <a:gd name="T26" fmla="*/ 1 w 108"/>
                <a:gd name="T27" fmla="*/ 49 h 77"/>
                <a:gd name="T28" fmla="*/ 0 w 108"/>
                <a:gd name="T29" fmla="*/ 42 h 77"/>
                <a:gd name="T30" fmla="*/ 4 w 108"/>
                <a:gd name="T31" fmla="*/ 42 h 77"/>
                <a:gd name="T32" fmla="*/ 8 w 108"/>
                <a:gd name="T33" fmla="*/ 37 h 77"/>
                <a:gd name="T34" fmla="*/ 6 w 108"/>
                <a:gd name="T35" fmla="*/ 33 h 77"/>
                <a:gd name="T36" fmla="*/ 9 w 108"/>
                <a:gd name="T37" fmla="*/ 28 h 77"/>
                <a:gd name="T38" fmla="*/ 17 w 108"/>
                <a:gd name="T39" fmla="*/ 28 h 77"/>
                <a:gd name="T40" fmla="*/ 19 w 108"/>
                <a:gd name="T41" fmla="*/ 22 h 77"/>
                <a:gd name="T42" fmla="*/ 18 w 108"/>
                <a:gd name="T43" fmla="*/ 7 h 77"/>
                <a:gd name="T44" fmla="*/ 16 w 108"/>
                <a:gd name="T45" fmla="*/ 5 h 77"/>
                <a:gd name="T46" fmla="*/ 25 w 108"/>
                <a:gd name="T47" fmla="*/ 0 h 77"/>
                <a:gd name="T48" fmla="*/ 36 w 108"/>
                <a:gd name="T49" fmla="*/ 4 h 77"/>
                <a:gd name="T50" fmla="*/ 45 w 108"/>
                <a:gd name="T51" fmla="*/ 4 h 77"/>
                <a:gd name="T52" fmla="*/ 49 w 108"/>
                <a:gd name="T53" fmla="*/ 11 h 77"/>
                <a:gd name="T54" fmla="*/ 61 w 108"/>
                <a:gd name="T55" fmla="*/ 4 h 77"/>
                <a:gd name="T56" fmla="*/ 68 w 108"/>
                <a:gd name="T57" fmla="*/ 8 h 77"/>
                <a:gd name="T58" fmla="*/ 63 w 108"/>
                <a:gd name="T59" fmla="*/ 16 h 77"/>
                <a:gd name="T60" fmla="*/ 71 w 108"/>
                <a:gd name="T61" fmla="*/ 25 h 77"/>
                <a:gd name="T62" fmla="*/ 73 w 108"/>
                <a:gd name="T63" fmla="*/ 34 h 77"/>
                <a:gd name="T64" fmla="*/ 81 w 108"/>
                <a:gd name="T65" fmla="*/ 37 h 77"/>
                <a:gd name="T66" fmla="*/ 89 w 108"/>
                <a:gd name="T67" fmla="*/ 39 h 77"/>
                <a:gd name="T68" fmla="*/ 95 w 108"/>
                <a:gd name="T69" fmla="*/ 45 h 77"/>
                <a:gd name="T70" fmla="*/ 95 w 108"/>
                <a:gd name="T71" fmla="*/ 53 h 77"/>
                <a:gd name="T72" fmla="*/ 108 w 108"/>
                <a:gd name="T73" fmla="*/ 58 h 77"/>
                <a:gd name="T74" fmla="*/ 107 w 108"/>
                <a:gd name="T75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77">
                  <a:moveTo>
                    <a:pt x="107" y="68"/>
                  </a:moveTo>
                  <a:cubicBezTo>
                    <a:pt x="107" y="68"/>
                    <a:pt x="106" y="68"/>
                    <a:pt x="106" y="68"/>
                  </a:cubicBezTo>
                  <a:cubicBezTo>
                    <a:pt x="102" y="69"/>
                    <a:pt x="102" y="73"/>
                    <a:pt x="100" y="73"/>
                  </a:cubicBezTo>
                  <a:cubicBezTo>
                    <a:pt x="99" y="74"/>
                    <a:pt x="89" y="75"/>
                    <a:pt x="87" y="74"/>
                  </a:cubicBezTo>
                  <a:cubicBezTo>
                    <a:pt x="85" y="73"/>
                    <a:pt x="77" y="73"/>
                    <a:pt x="73" y="73"/>
                  </a:cubicBezTo>
                  <a:cubicBezTo>
                    <a:pt x="68" y="73"/>
                    <a:pt x="64" y="73"/>
                    <a:pt x="59" y="69"/>
                  </a:cubicBezTo>
                  <a:cubicBezTo>
                    <a:pt x="55" y="66"/>
                    <a:pt x="51" y="69"/>
                    <a:pt x="47" y="73"/>
                  </a:cubicBezTo>
                  <a:cubicBezTo>
                    <a:pt x="43" y="77"/>
                    <a:pt x="39" y="70"/>
                    <a:pt x="35" y="70"/>
                  </a:cubicBezTo>
                  <a:cubicBezTo>
                    <a:pt x="31" y="69"/>
                    <a:pt x="25" y="69"/>
                    <a:pt x="20" y="68"/>
                  </a:cubicBezTo>
                  <a:cubicBezTo>
                    <a:pt x="18" y="67"/>
                    <a:pt x="16" y="67"/>
                    <a:pt x="14" y="6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7" y="6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5" name="Костромская обл.">
              <a:extLst>
                <a:ext uri="{FF2B5EF4-FFF2-40B4-BE49-F238E27FC236}">
                  <a16:creationId xmlns:a16="http://schemas.microsoft.com/office/drawing/2014/main" id="{625E0E5C-7D13-BD46-81A1-C4129D96C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3320" y="3858100"/>
              <a:ext cx="633410" cy="316552"/>
            </a:xfrm>
            <a:custGeom>
              <a:avLst/>
              <a:gdLst>
                <a:gd name="T0" fmla="*/ 56 w 248"/>
                <a:gd name="T1" fmla="*/ 12 h 139"/>
                <a:gd name="T2" fmla="*/ 83 w 248"/>
                <a:gd name="T3" fmla="*/ 2 h 139"/>
                <a:gd name="T4" fmla="*/ 104 w 248"/>
                <a:gd name="T5" fmla="*/ 6 h 139"/>
                <a:gd name="T6" fmla="*/ 116 w 248"/>
                <a:gd name="T7" fmla="*/ 0 h 139"/>
                <a:gd name="T8" fmla="*/ 131 w 248"/>
                <a:gd name="T9" fmla="*/ 23 h 139"/>
                <a:gd name="T10" fmla="*/ 148 w 248"/>
                <a:gd name="T11" fmla="*/ 27 h 139"/>
                <a:gd name="T12" fmla="*/ 162 w 248"/>
                <a:gd name="T13" fmla="*/ 41 h 139"/>
                <a:gd name="T14" fmla="*/ 166 w 248"/>
                <a:gd name="T15" fmla="*/ 52 h 139"/>
                <a:gd name="T16" fmla="*/ 189 w 248"/>
                <a:gd name="T17" fmla="*/ 62 h 139"/>
                <a:gd name="T18" fmla="*/ 200 w 248"/>
                <a:gd name="T19" fmla="*/ 81 h 139"/>
                <a:gd name="T20" fmla="*/ 208 w 248"/>
                <a:gd name="T21" fmla="*/ 75 h 139"/>
                <a:gd name="T22" fmla="*/ 221 w 248"/>
                <a:gd name="T23" fmla="*/ 79 h 139"/>
                <a:gd name="T24" fmla="*/ 231 w 248"/>
                <a:gd name="T25" fmla="*/ 62 h 139"/>
                <a:gd name="T26" fmla="*/ 248 w 248"/>
                <a:gd name="T27" fmla="*/ 79 h 139"/>
                <a:gd name="T28" fmla="*/ 242 w 248"/>
                <a:gd name="T29" fmla="*/ 85 h 139"/>
                <a:gd name="T30" fmla="*/ 239 w 248"/>
                <a:gd name="T31" fmla="*/ 121 h 139"/>
                <a:gd name="T32" fmla="*/ 219 w 248"/>
                <a:gd name="T33" fmla="*/ 121 h 139"/>
                <a:gd name="T34" fmla="*/ 208 w 248"/>
                <a:gd name="T35" fmla="*/ 127 h 139"/>
                <a:gd name="T36" fmla="*/ 202 w 248"/>
                <a:gd name="T37" fmla="*/ 123 h 139"/>
                <a:gd name="T38" fmla="*/ 185 w 248"/>
                <a:gd name="T39" fmla="*/ 127 h 139"/>
                <a:gd name="T40" fmla="*/ 175 w 248"/>
                <a:gd name="T41" fmla="*/ 139 h 139"/>
                <a:gd name="T42" fmla="*/ 171 w 248"/>
                <a:gd name="T43" fmla="*/ 133 h 139"/>
                <a:gd name="T44" fmla="*/ 152 w 248"/>
                <a:gd name="T45" fmla="*/ 133 h 139"/>
                <a:gd name="T46" fmla="*/ 141 w 248"/>
                <a:gd name="T47" fmla="*/ 116 h 139"/>
                <a:gd name="T48" fmla="*/ 131 w 248"/>
                <a:gd name="T49" fmla="*/ 114 h 139"/>
                <a:gd name="T50" fmla="*/ 116 w 248"/>
                <a:gd name="T51" fmla="*/ 125 h 139"/>
                <a:gd name="T52" fmla="*/ 106 w 248"/>
                <a:gd name="T53" fmla="*/ 123 h 139"/>
                <a:gd name="T54" fmla="*/ 102 w 248"/>
                <a:gd name="T55" fmla="*/ 131 h 139"/>
                <a:gd name="T56" fmla="*/ 94 w 248"/>
                <a:gd name="T57" fmla="*/ 127 h 139"/>
                <a:gd name="T58" fmla="*/ 83 w 248"/>
                <a:gd name="T59" fmla="*/ 127 h 139"/>
                <a:gd name="T60" fmla="*/ 85 w 248"/>
                <a:gd name="T61" fmla="*/ 112 h 139"/>
                <a:gd name="T62" fmla="*/ 69 w 248"/>
                <a:gd name="T63" fmla="*/ 102 h 139"/>
                <a:gd name="T64" fmla="*/ 73 w 248"/>
                <a:gd name="T65" fmla="*/ 87 h 139"/>
                <a:gd name="T66" fmla="*/ 58 w 248"/>
                <a:gd name="T67" fmla="*/ 87 h 139"/>
                <a:gd name="T68" fmla="*/ 44 w 248"/>
                <a:gd name="T69" fmla="*/ 75 h 139"/>
                <a:gd name="T70" fmla="*/ 41 w 248"/>
                <a:gd name="T71" fmla="*/ 64 h 139"/>
                <a:gd name="T72" fmla="*/ 35 w 248"/>
                <a:gd name="T73" fmla="*/ 64 h 139"/>
                <a:gd name="T74" fmla="*/ 27 w 248"/>
                <a:gd name="T75" fmla="*/ 73 h 139"/>
                <a:gd name="T76" fmla="*/ 19 w 248"/>
                <a:gd name="T77" fmla="*/ 68 h 139"/>
                <a:gd name="T78" fmla="*/ 8 w 248"/>
                <a:gd name="T79" fmla="*/ 68 h 139"/>
                <a:gd name="T80" fmla="*/ 0 w 248"/>
                <a:gd name="T81" fmla="*/ 54 h 139"/>
                <a:gd name="T82" fmla="*/ 2 w 248"/>
                <a:gd name="T83" fmla="*/ 50 h 139"/>
                <a:gd name="T84" fmla="*/ 12 w 248"/>
                <a:gd name="T85" fmla="*/ 50 h 139"/>
                <a:gd name="T86" fmla="*/ 27 w 248"/>
                <a:gd name="T87" fmla="*/ 33 h 139"/>
                <a:gd name="T88" fmla="*/ 35 w 248"/>
                <a:gd name="T89" fmla="*/ 35 h 139"/>
                <a:gd name="T90" fmla="*/ 39 w 248"/>
                <a:gd name="T91" fmla="*/ 25 h 139"/>
                <a:gd name="T92" fmla="*/ 54 w 248"/>
                <a:gd name="T93" fmla="*/ 25 h 139"/>
                <a:gd name="T94" fmla="*/ 56 w 248"/>
                <a:gd name="T9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8" h="139">
                  <a:moveTo>
                    <a:pt x="56" y="12"/>
                  </a:moveTo>
                  <a:lnTo>
                    <a:pt x="83" y="2"/>
                  </a:lnTo>
                  <a:lnTo>
                    <a:pt x="104" y="6"/>
                  </a:lnTo>
                  <a:lnTo>
                    <a:pt x="116" y="0"/>
                  </a:lnTo>
                  <a:lnTo>
                    <a:pt x="131" y="23"/>
                  </a:lnTo>
                  <a:lnTo>
                    <a:pt x="148" y="27"/>
                  </a:lnTo>
                  <a:lnTo>
                    <a:pt x="162" y="41"/>
                  </a:lnTo>
                  <a:lnTo>
                    <a:pt x="166" y="52"/>
                  </a:lnTo>
                  <a:lnTo>
                    <a:pt x="189" y="62"/>
                  </a:lnTo>
                  <a:lnTo>
                    <a:pt x="200" y="81"/>
                  </a:lnTo>
                  <a:lnTo>
                    <a:pt x="208" y="75"/>
                  </a:lnTo>
                  <a:lnTo>
                    <a:pt x="221" y="79"/>
                  </a:lnTo>
                  <a:lnTo>
                    <a:pt x="231" y="62"/>
                  </a:lnTo>
                  <a:lnTo>
                    <a:pt x="248" y="79"/>
                  </a:lnTo>
                  <a:lnTo>
                    <a:pt x="242" y="85"/>
                  </a:lnTo>
                  <a:lnTo>
                    <a:pt x="239" y="121"/>
                  </a:lnTo>
                  <a:lnTo>
                    <a:pt x="219" y="121"/>
                  </a:lnTo>
                  <a:lnTo>
                    <a:pt x="208" y="127"/>
                  </a:lnTo>
                  <a:lnTo>
                    <a:pt x="202" y="123"/>
                  </a:lnTo>
                  <a:lnTo>
                    <a:pt x="185" y="127"/>
                  </a:lnTo>
                  <a:lnTo>
                    <a:pt x="175" y="139"/>
                  </a:lnTo>
                  <a:lnTo>
                    <a:pt x="171" y="133"/>
                  </a:lnTo>
                  <a:lnTo>
                    <a:pt x="152" y="133"/>
                  </a:lnTo>
                  <a:lnTo>
                    <a:pt x="141" y="116"/>
                  </a:lnTo>
                  <a:lnTo>
                    <a:pt x="131" y="114"/>
                  </a:lnTo>
                  <a:lnTo>
                    <a:pt x="116" y="125"/>
                  </a:lnTo>
                  <a:lnTo>
                    <a:pt x="106" y="123"/>
                  </a:lnTo>
                  <a:lnTo>
                    <a:pt x="102" y="131"/>
                  </a:lnTo>
                  <a:lnTo>
                    <a:pt x="94" y="127"/>
                  </a:lnTo>
                  <a:lnTo>
                    <a:pt x="83" y="127"/>
                  </a:lnTo>
                  <a:lnTo>
                    <a:pt x="85" y="112"/>
                  </a:lnTo>
                  <a:lnTo>
                    <a:pt x="69" y="102"/>
                  </a:lnTo>
                  <a:lnTo>
                    <a:pt x="73" y="87"/>
                  </a:lnTo>
                  <a:lnTo>
                    <a:pt x="58" y="87"/>
                  </a:lnTo>
                  <a:lnTo>
                    <a:pt x="44" y="75"/>
                  </a:lnTo>
                  <a:lnTo>
                    <a:pt x="41" y="64"/>
                  </a:lnTo>
                  <a:lnTo>
                    <a:pt x="35" y="64"/>
                  </a:lnTo>
                  <a:lnTo>
                    <a:pt x="27" y="73"/>
                  </a:lnTo>
                  <a:lnTo>
                    <a:pt x="19" y="68"/>
                  </a:lnTo>
                  <a:lnTo>
                    <a:pt x="8" y="6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12" y="50"/>
                  </a:lnTo>
                  <a:lnTo>
                    <a:pt x="27" y="33"/>
                  </a:lnTo>
                  <a:lnTo>
                    <a:pt x="35" y="35"/>
                  </a:lnTo>
                  <a:lnTo>
                    <a:pt x="39" y="25"/>
                  </a:lnTo>
                  <a:lnTo>
                    <a:pt x="54" y="25"/>
                  </a:lnTo>
                  <a:lnTo>
                    <a:pt x="56" y="1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6" name="Кировская обл.">
              <a:extLst>
                <a:ext uri="{FF2B5EF4-FFF2-40B4-BE49-F238E27FC236}">
                  <a16:creationId xmlns:a16="http://schemas.microsoft.com/office/drawing/2014/main" id="{2559006E-46AB-E84D-C836-9EF1E9E7B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215" y="3871764"/>
              <a:ext cx="733020" cy="721920"/>
            </a:xfrm>
            <a:custGeom>
              <a:avLst/>
              <a:gdLst>
                <a:gd name="T0" fmla="*/ 39 w 287"/>
                <a:gd name="T1" fmla="*/ 121 h 317"/>
                <a:gd name="T2" fmla="*/ 62 w 287"/>
                <a:gd name="T3" fmla="*/ 121 h 317"/>
                <a:gd name="T4" fmla="*/ 93 w 287"/>
                <a:gd name="T5" fmla="*/ 115 h 317"/>
                <a:gd name="T6" fmla="*/ 106 w 287"/>
                <a:gd name="T7" fmla="*/ 67 h 317"/>
                <a:gd name="T8" fmla="*/ 116 w 287"/>
                <a:gd name="T9" fmla="*/ 48 h 317"/>
                <a:gd name="T10" fmla="*/ 110 w 287"/>
                <a:gd name="T11" fmla="*/ 25 h 317"/>
                <a:gd name="T12" fmla="*/ 156 w 287"/>
                <a:gd name="T13" fmla="*/ 0 h 317"/>
                <a:gd name="T14" fmla="*/ 173 w 287"/>
                <a:gd name="T15" fmla="*/ 27 h 317"/>
                <a:gd name="T16" fmla="*/ 173 w 287"/>
                <a:gd name="T17" fmla="*/ 46 h 317"/>
                <a:gd name="T18" fmla="*/ 158 w 287"/>
                <a:gd name="T19" fmla="*/ 62 h 317"/>
                <a:gd name="T20" fmla="*/ 148 w 287"/>
                <a:gd name="T21" fmla="*/ 85 h 317"/>
                <a:gd name="T22" fmla="*/ 156 w 287"/>
                <a:gd name="T23" fmla="*/ 104 h 317"/>
                <a:gd name="T24" fmla="*/ 154 w 287"/>
                <a:gd name="T25" fmla="*/ 133 h 317"/>
                <a:gd name="T26" fmla="*/ 171 w 287"/>
                <a:gd name="T27" fmla="*/ 127 h 317"/>
                <a:gd name="T28" fmla="*/ 185 w 287"/>
                <a:gd name="T29" fmla="*/ 110 h 317"/>
                <a:gd name="T30" fmla="*/ 206 w 287"/>
                <a:gd name="T31" fmla="*/ 125 h 317"/>
                <a:gd name="T32" fmla="*/ 227 w 287"/>
                <a:gd name="T33" fmla="*/ 129 h 317"/>
                <a:gd name="T34" fmla="*/ 241 w 287"/>
                <a:gd name="T35" fmla="*/ 121 h 317"/>
                <a:gd name="T36" fmla="*/ 275 w 287"/>
                <a:gd name="T37" fmla="*/ 137 h 317"/>
                <a:gd name="T38" fmla="*/ 287 w 287"/>
                <a:gd name="T39" fmla="*/ 162 h 317"/>
                <a:gd name="T40" fmla="*/ 254 w 287"/>
                <a:gd name="T41" fmla="*/ 196 h 317"/>
                <a:gd name="T42" fmla="*/ 258 w 287"/>
                <a:gd name="T43" fmla="*/ 213 h 317"/>
                <a:gd name="T44" fmla="*/ 243 w 287"/>
                <a:gd name="T45" fmla="*/ 242 h 317"/>
                <a:gd name="T46" fmla="*/ 231 w 287"/>
                <a:gd name="T47" fmla="*/ 225 h 317"/>
                <a:gd name="T48" fmla="*/ 193 w 287"/>
                <a:gd name="T49" fmla="*/ 210 h 317"/>
                <a:gd name="T50" fmla="*/ 168 w 287"/>
                <a:gd name="T51" fmla="*/ 254 h 317"/>
                <a:gd name="T52" fmla="*/ 143 w 287"/>
                <a:gd name="T53" fmla="*/ 248 h 317"/>
                <a:gd name="T54" fmla="*/ 127 w 287"/>
                <a:gd name="T55" fmla="*/ 281 h 317"/>
                <a:gd name="T56" fmla="*/ 102 w 287"/>
                <a:gd name="T57" fmla="*/ 317 h 317"/>
                <a:gd name="T58" fmla="*/ 85 w 287"/>
                <a:gd name="T59" fmla="*/ 279 h 317"/>
                <a:gd name="T60" fmla="*/ 87 w 287"/>
                <a:gd name="T61" fmla="*/ 242 h 317"/>
                <a:gd name="T62" fmla="*/ 71 w 287"/>
                <a:gd name="T63" fmla="*/ 221 h 317"/>
                <a:gd name="T64" fmla="*/ 46 w 287"/>
                <a:gd name="T65" fmla="*/ 208 h 317"/>
                <a:gd name="T66" fmla="*/ 31 w 287"/>
                <a:gd name="T67" fmla="*/ 213 h 317"/>
                <a:gd name="T68" fmla="*/ 0 w 287"/>
                <a:gd name="T69" fmla="*/ 198 h 317"/>
                <a:gd name="T70" fmla="*/ 27 w 287"/>
                <a:gd name="T71" fmla="*/ 177 h 317"/>
                <a:gd name="T72" fmla="*/ 62 w 287"/>
                <a:gd name="T73" fmla="*/ 165 h 317"/>
                <a:gd name="T74" fmla="*/ 29 w 287"/>
                <a:gd name="T75" fmla="*/ 133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7" h="317">
                  <a:moveTo>
                    <a:pt x="29" y="133"/>
                  </a:moveTo>
                  <a:lnTo>
                    <a:pt x="39" y="121"/>
                  </a:lnTo>
                  <a:lnTo>
                    <a:pt x="56" y="117"/>
                  </a:lnTo>
                  <a:lnTo>
                    <a:pt x="62" y="121"/>
                  </a:lnTo>
                  <a:lnTo>
                    <a:pt x="73" y="115"/>
                  </a:lnTo>
                  <a:lnTo>
                    <a:pt x="93" y="115"/>
                  </a:lnTo>
                  <a:lnTo>
                    <a:pt x="96" y="79"/>
                  </a:lnTo>
                  <a:lnTo>
                    <a:pt x="106" y="67"/>
                  </a:lnTo>
                  <a:lnTo>
                    <a:pt x="106" y="56"/>
                  </a:lnTo>
                  <a:lnTo>
                    <a:pt x="116" y="48"/>
                  </a:lnTo>
                  <a:lnTo>
                    <a:pt x="100" y="33"/>
                  </a:lnTo>
                  <a:lnTo>
                    <a:pt x="110" y="25"/>
                  </a:lnTo>
                  <a:lnTo>
                    <a:pt x="123" y="33"/>
                  </a:lnTo>
                  <a:lnTo>
                    <a:pt x="156" y="0"/>
                  </a:lnTo>
                  <a:lnTo>
                    <a:pt x="175" y="17"/>
                  </a:lnTo>
                  <a:lnTo>
                    <a:pt x="173" y="27"/>
                  </a:lnTo>
                  <a:lnTo>
                    <a:pt x="181" y="33"/>
                  </a:lnTo>
                  <a:lnTo>
                    <a:pt x="173" y="46"/>
                  </a:lnTo>
                  <a:lnTo>
                    <a:pt x="171" y="62"/>
                  </a:lnTo>
                  <a:lnTo>
                    <a:pt x="158" y="62"/>
                  </a:lnTo>
                  <a:lnTo>
                    <a:pt x="154" y="75"/>
                  </a:lnTo>
                  <a:lnTo>
                    <a:pt x="148" y="85"/>
                  </a:lnTo>
                  <a:lnTo>
                    <a:pt x="146" y="96"/>
                  </a:lnTo>
                  <a:lnTo>
                    <a:pt x="156" y="104"/>
                  </a:lnTo>
                  <a:lnTo>
                    <a:pt x="156" y="125"/>
                  </a:lnTo>
                  <a:lnTo>
                    <a:pt x="154" y="133"/>
                  </a:lnTo>
                  <a:lnTo>
                    <a:pt x="160" y="137"/>
                  </a:lnTo>
                  <a:lnTo>
                    <a:pt x="171" y="127"/>
                  </a:lnTo>
                  <a:lnTo>
                    <a:pt x="173" y="115"/>
                  </a:lnTo>
                  <a:lnTo>
                    <a:pt x="185" y="110"/>
                  </a:lnTo>
                  <a:lnTo>
                    <a:pt x="200" y="121"/>
                  </a:lnTo>
                  <a:lnTo>
                    <a:pt x="206" y="125"/>
                  </a:lnTo>
                  <a:lnTo>
                    <a:pt x="218" y="115"/>
                  </a:lnTo>
                  <a:lnTo>
                    <a:pt x="227" y="129"/>
                  </a:lnTo>
                  <a:lnTo>
                    <a:pt x="235" y="129"/>
                  </a:lnTo>
                  <a:lnTo>
                    <a:pt x="241" y="121"/>
                  </a:lnTo>
                  <a:lnTo>
                    <a:pt x="252" y="121"/>
                  </a:lnTo>
                  <a:lnTo>
                    <a:pt x="275" y="137"/>
                  </a:lnTo>
                  <a:lnTo>
                    <a:pt x="287" y="148"/>
                  </a:lnTo>
                  <a:lnTo>
                    <a:pt x="287" y="162"/>
                  </a:lnTo>
                  <a:lnTo>
                    <a:pt x="262" y="183"/>
                  </a:lnTo>
                  <a:lnTo>
                    <a:pt x="254" y="196"/>
                  </a:lnTo>
                  <a:lnTo>
                    <a:pt x="258" y="204"/>
                  </a:lnTo>
                  <a:lnTo>
                    <a:pt x="258" y="213"/>
                  </a:lnTo>
                  <a:lnTo>
                    <a:pt x="256" y="229"/>
                  </a:lnTo>
                  <a:lnTo>
                    <a:pt x="243" y="242"/>
                  </a:lnTo>
                  <a:lnTo>
                    <a:pt x="227" y="238"/>
                  </a:lnTo>
                  <a:lnTo>
                    <a:pt x="231" y="225"/>
                  </a:lnTo>
                  <a:lnTo>
                    <a:pt x="210" y="221"/>
                  </a:lnTo>
                  <a:lnTo>
                    <a:pt x="193" y="210"/>
                  </a:lnTo>
                  <a:lnTo>
                    <a:pt x="175" y="233"/>
                  </a:lnTo>
                  <a:lnTo>
                    <a:pt x="168" y="254"/>
                  </a:lnTo>
                  <a:lnTo>
                    <a:pt x="156" y="256"/>
                  </a:lnTo>
                  <a:lnTo>
                    <a:pt x="143" y="248"/>
                  </a:lnTo>
                  <a:lnTo>
                    <a:pt x="129" y="256"/>
                  </a:lnTo>
                  <a:lnTo>
                    <a:pt x="127" y="281"/>
                  </a:lnTo>
                  <a:lnTo>
                    <a:pt x="112" y="306"/>
                  </a:lnTo>
                  <a:lnTo>
                    <a:pt x="102" y="317"/>
                  </a:lnTo>
                  <a:lnTo>
                    <a:pt x="91" y="302"/>
                  </a:lnTo>
                  <a:lnTo>
                    <a:pt x="85" y="279"/>
                  </a:lnTo>
                  <a:lnTo>
                    <a:pt x="85" y="265"/>
                  </a:lnTo>
                  <a:lnTo>
                    <a:pt x="87" y="242"/>
                  </a:lnTo>
                  <a:lnTo>
                    <a:pt x="73" y="238"/>
                  </a:lnTo>
                  <a:lnTo>
                    <a:pt x="71" y="221"/>
                  </a:lnTo>
                  <a:lnTo>
                    <a:pt x="58" y="221"/>
                  </a:lnTo>
                  <a:lnTo>
                    <a:pt x="46" y="208"/>
                  </a:lnTo>
                  <a:lnTo>
                    <a:pt x="37" y="219"/>
                  </a:lnTo>
                  <a:lnTo>
                    <a:pt x="31" y="213"/>
                  </a:lnTo>
                  <a:lnTo>
                    <a:pt x="16" y="219"/>
                  </a:lnTo>
                  <a:lnTo>
                    <a:pt x="0" y="198"/>
                  </a:lnTo>
                  <a:lnTo>
                    <a:pt x="18" y="177"/>
                  </a:lnTo>
                  <a:lnTo>
                    <a:pt x="27" y="177"/>
                  </a:lnTo>
                  <a:lnTo>
                    <a:pt x="43" y="181"/>
                  </a:lnTo>
                  <a:lnTo>
                    <a:pt x="62" y="165"/>
                  </a:lnTo>
                  <a:lnTo>
                    <a:pt x="29" y="131"/>
                  </a:lnTo>
                  <a:lnTo>
                    <a:pt x="29" y="13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7" name="Кемеровская обл.">
              <a:extLst>
                <a:ext uri="{FF2B5EF4-FFF2-40B4-BE49-F238E27FC236}">
                  <a16:creationId xmlns:a16="http://schemas.microsoft.com/office/drawing/2014/main" id="{B66FD65B-F199-BEBA-A8A2-52D7184D4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6822" y="5308769"/>
              <a:ext cx="418869" cy="655876"/>
            </a:xfrm>
            <a:custGeom>
              <a:avLst/>
              <a:gdLst>
                <a:gd name="T0" fmla="*/ 0 w 79"/>
                <a:gd name="T1" fmla="*/ 22 h 138"/>
                <a:gd name="T2" fmla="*/ 6 w 79"/>
                <a:gd name="T3" fmla="*/ 17 h 138"/>
                <a:gd name="T4" fmla="*/ 19 w 79"/>
                <a:gd name="T5" fmla="*/ 18 h 138"/>
                <a:gd name="T6" fmla="*/ 31 w 79"/>
                <a:gd name="T7" fmla="*/ 9 h 138"/>
                <a:gd name="T8" fmla="*/ 41 w 79"/>
                <a:gd name="T9" fmla="*/ 9 h 138"/>
                <a:gd name="T10" fmla="*/ 43 w 79"/>
                <a:gd name="T11" fmla="*/ 11 h 138"/>
                <a:gd name="T12" fmla="*/ 49 w 79"/>
                <a:gd name="T13" fmla="*/ 6 h 138"/>
                <a:gd name="T14" fmla="*/ 53 w 79"/>
                <a:gd name="T15" fmla="*/ 9 h 138"/>
                <a:gd name="T16" fmla="*/ 65 w 79"/>
                <a:gd name="T17" fmla="*/ 0 h 138"/>
                <a:gd name="T18" fmla="*/ 67 w 79"/>
                <a:gd name="T19" fmla="*/ 0 h 138"/>
                <a:gd name="T20" fmla="*/ 68 w 79"/>
                <a:gd name="T21" fmla="*/ 11 h 138"/>
                <a:gd name="T22" fmla="*/ 75 w 79"/>
                <a:gd name="T23" fmla="*/ 17 h 138"/>
                <a:gd name="T24" fmla="*/ 79 w 79"/>
                <a:gd name="T25" fmla="*/ 23 h 138"/>
                <a:gd name="T26" fmla="*/ 79 w 79"/>
                <a:gd name="T27" fmla="*/ 34 h 138"/>
                <a:gd name="T28" fmla="*/ 65 w 79"/>
                <a:gd name="T29" fmla="*/ 45 h 138"/>
                <a:gd name="T30" fmla="*/ 69 w 79"/>
                <a:gd name="T31" fmla="*/ 57 h 138"/>
                <a:gd name="T32" fmla="*/ 69 w 79"/>
                <a:gd name="T33" fmla="*/ 69 h 138"/>
                <a:gd name="T34" fmla="*/ 62 w 79"/>
                <a:gd name="T35" fmla="*/ 74 h 138"/>
                <a:gd name="T36" fmla="*/ 65 w 79"/>
                <a:gd name="T37" fmla="*/ 76 h 138"/>
                <a:gd name="T38" fmla="*/ 71 w 79"/>
                <a:gd name="T39" fmla="*/ 74 h 138"/>
                <a:gd name="T40" fmla="*/ 79 w 79"/>
                <a:gd name="T41" fmla="*/ 75 h 138"/>
                <a:gd name="T42" fmla="*/ 75 w 79"/>
                <a:gd name="T43" fmla="*/ 80 h 138"/>
                <a:gd name="T44" fmla="*/ 75 w 79"/>
                <a:gd name="T45" fmla="*/ 91 h 138"/>
                <a:gd name="T46" fmla="*/ 68 w 79"/>
                <a:gd name="T47" fmla="*/ 100 h 138"/>
                <a:gd name="T48" fmla="*/ 75 w 79"/>
                <a:gd name="T49" fmla="*/ 107 h 138"/>
                <a:gd name="T50" fmla="*/ 72 w 79"/>
                <a:gd name="T51" fmla="*/ 114 h 138"/>
                <a:gd name="T52" fmla="*/ 77 w 79"/>
                <a:gd name="T53" fmla="*/ 122 h 138"/>
                <a:gd name="T54" fmla="*/ 67 w 79"/>
                <a:gd name="T55" fmla="*/ 130 h 138"/>
                <a:gd name="T56" fmla="*/ 67 w 79"/>
                <a:gd name="T57" fmla="*/ 138 h 138"/>
                <a:gd name="T58" fmla="*/ 62 w 79"/>
                <a:gd name="T59" fmla="*/ 136 h 138"/>
                <a:gd name="T60" fmla="*/ 62 w 79"/>
                <a:gd name="T61" fmla="*/ 131 h 138"/>
                <a:gd name="T62" fmla="*/ 57 w 79"/>
                <a:gd name="T63" fmla="*/ 130 h 138"/>
                <a:gd name="T64" fmla="*/ 50 w 79"/>
                <a:gd name="T65" fmla="*/ 126 h 138"/>
                <a:gd name="T66" fmla="*/ 44 w 79"/>
                <a:gd name="T67" fmla="*/ 127 h 138"/>
                <a:gd name="T68" fmla="*/ 38 w 79"/>
                <a:gd name="T69" fmla="*/ 122 h 138"/>
                <a:gd name="T70" fmla="*/ 36 w 79"/>
                <a:gd name="T71" fmla="*/ 114 h 138"/>
                <a:gd name="T72" fmla="*/ 31 w 79"/>
                <a:gd name="T73" fmla="*/ 104 h 138"/>
                <a:gd name="T74" fmla="*/ 38 w 79"/>
                <a:gd name="T75" fmla="*/ 103 h 138"/>
                <a:gd name="T76" fmla="*/ 40 w 79"/>
                <a:gd name="T77" fmla="*/ 98 h 138"/>
                <a:gd name="T78" fmla="*/ 27 w 79"/>
                <a:gd name="T79" fmla="*/ 94 h 138"/>
                <a:gd name="T80" fmla="*/ 23 w 79"/>
                <a:gd name="T81" fmla="*/ 85 h 138"/>
                <a:gd name="T82" fmla="*/ 20 w 79"/>
                <a:gd name="T83" fmla="*/ 77 h 138"/>
                <a:gd name="T84" fmla="*/ 12 w 79"/>
                <a:gd name="T85" fmla="*/ 75 h 138"/>
                <a:gd name="T86" fmla="*/ 9 w 79"/>
                <a:gd name="T87" fmla="*/ 67 h 138"/>
                <a:gd name="T88" fmla="*/ 3 w 79"/>
                <a:gd name="T89" fmla="*/ 56 h 138"/>
                <a:gd name="T90" fmla="*/ 5 w 79"/>
                <a:gd name="T91" fmla="*/ 44 h 138"/>
                <a:gd name="T92" fmla="*/ 2 w 79"/>
                <a:gd name="T93" fmla="*/ 32 h 138"/>
                <a:gd name="T94" fmla="*/ 0 w 79"/>
                <a:gd name="T95" fmla="*/ 2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" h="138">
                  <a:moveTo>
                    <a:pt x="0" y="22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0" y="126"/>
                    <a:pt x="50" y="126"/>
                    <a:pt x="50" y="126"/>
                  </a:cubicBezTo>
                  <a:cubicBezTo>
                    <a:pt x="44" y="127"/>
                    <a:pt x="44" y="127"/>
                    <a:pt x="44" y="127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5" y="45"/>
                    <a:pt x="5" y="44"/>
                  </a:cubicBezTo>
                  <a:cubicBezTo>
                    <a:pt x="5" y="44"/>
                    <a:pt x="2" y="32"/>
                    <a:pt x="2" y="32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8" name="Камчатский край">
              <a:extLst>
                <a:ext uri="{FF2B5EF4-FFF2-40B4-BE49-F238E27FC236}">
                  <a16:creationId xmlns:a16="http://schemas.microsoft.com/office/drawing/2014/main" id="{C2F4D6C0-A4CC-D5C3-F26E-2D5060417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9049" y="1626301"/>
              <a:ext cx="1634608" cy="2302397"/>
            </a:xfrm>
            <a:custGeom>
              <a:avLst/>
              <a:gdLst>
                <a:gd name="T0" fmla="*/ 146 w 307"/>
                <a:gd name="T1" fmla="*/ 31 h 485"/>
                <a:gd name="T2" fmla="*/ 159 w 307"/>
                <a:gd name="T3" fmla="*/ 67 h 485"/>
                <a:gd name="T4" fmla="*/ 151 w 307"/>
                <a:gd name="T5" fmla="*/ 84 h 485"/>
                <a:gd name="T6" fmla="*/ 145 w 307"/>
                <a:gd name="T7" fmla="*/ 135 h 485"/>
                <a:gd name="T8" fmla="*/ 132 w 307"/>
                <a:gd name="T9" fmla="*/ 144 h 485"/>
                <a:gd name="T10" fmla="*/ 126 w 307"/>
                <a:gd name="T11" fmla="*/ 162 h 485"/>
                <a:gd name="T12" fmla="*/ 144 w 307"/>
                <a:gd name="T13" fmla="*/ 193 h 485"/>
                <a:gd name="T14" fmla="*/ 174 w 307"/>
                <a:gd name="T15" fmla="*/ 204 h 485"/>
                <a:gd name="T16" fmla="*/ 201 w 307"/>
                <a:gd name="T17" fmla="*/ 222 h 485"/>
                <a:gd name="T18" fmla="*/ 210 w 307"/>
                <a:gd name="T19" fmla="*/ 234 h 485"/>
                <a:gd name="T20" fmla="*/ 228 w 307"/>
                <a:gd name="T21" fmla="*/ 260 h 485"/>
                <a:gd name="T22" fmla="*/ 237 w 307"/>
                <a:gd name="T23" fmla="*/ 288 h 485"/>
                <a:gd name="T24" fmla="*/ 258 w 307"/>
                <a:gd name="T25" fmla="*/ 325 h 485"/>
                <a:gd name="T26" fmla="*/ 278 w 307"/>
                <a:gd name="T27" fmla="*/ 363 h 485"/>
                <a:gd name="T28" fmla="*/ 251 w 307"/>
                <a:gd name="T29" fmla="*/ 388 h 485"/>
                <a:gd name="T30" fmla="*/ 144 w 307"/>
                <a:gd name="T31" fmla="*/ 321 h 485"/>
                <a:gd name="T32" fmla="*/ 126 w 307"/>
                <a:gd name="T33" fmla="*/ 281 h 485"/>
                <a:gd name="T34" fmla="*/ 119 w 307"/>
                <a:gd name="T35" fmla="*/ 231 h 485"/>
                <a:gd name="T36" fmla="*/ 101 w 307"/>
                <a:gd name="T37" fmla="*/ 181 h 485"/>
                <a:gd name="T38" fmla="*/ 92 w 307"/>
                <a:gd name="T39" fmla="*/ 144 h 485"/>
                <a:gd name="T40" fmla="*/ 68 w 307"/>
                <a:gd name="T41" fmla="*/ 113 h 485"/>
                <a:gd name="T42" fmla="*/ 61 w 307"/>
                <a:gd name="T43" fmla="*/ 138 h 485"/>
                <a:gd name="T44" fmla="*/ 73 w 307"/>
                <a:gd name="T45" fmla="*/ 158 h 485"/>
                <a:gd name="T46" fmla="*/ 59 w 307"/>
                <a:gd name="T47" fmla="*/ 155 h 485"/>
                <a:gd name="T48" fmla="*/ 46 w 307"/>
                <a:gd name="T49" fmla="*/ 140 h 485"/>
                <a:gd name="T50" fmla="*/ 27 w 307"/>
                <a:gd name="T51" fmla="*/ 123 h 485"/>
                <a:gd name="T52" fmla="*/ 12 w 307"/>
                <a:gd name="T53" fmla="*/ 115 h 485"/>
                <a:gd name="T54" fmla="*/ 1 w 307"/>
                <a:gd name="T55" fmla="*/ 94 h 485"/>
                <a:gd name="T56" fmla="*/ 9 w 307"/>
                <a:gd name="T57" fmla="*/ 80 h 485"/>
                <a:gd name="T58" fmla="*/ 26 w 307"/>
                <a:gd name="T59" fmla="*/ 66 h 485"/>
                <a:gd name="T60" fmla="*/ 43 w 307"/>
                <a:gd name="T61" fmla="*/ 48 h 485"/>
                <a:gd name="T62" fmla="*/ 72 w 307"/>
                <a:gd name="T63" fmla="*/ 57 h 485"/>
                <a:gd name="T64" fmla="*/ 89 w 307"/>
                <a:gd name="T65" fmla="*/ 57 h 485"/>
                <a:gd name="T66" fmla="*/ 106 w 307"/>
                <a:gd name="T67" fmla="*/ 52 h 485"/>
                <a:gd name="T68" fmla="*/ 116 w 307"/>
                <a:gd name="T69" fmla="*/ 22 h 485"/>
                <a:gd name="T70" fmla="*/ 129 w 307"/>
                <a:gd name="T71" fmla="*/ 7 h 485"/>
                <a:gd name="T72" fmla="*/ 304 w 307"/>
                <a:gd name="T73" fmla="*/ 479 h 485"/>
                <a:gd name="T74" fmla="*/ 306 w 307"/>
                <a:gd name="T75" fmla="*/ 484 h 485"/>
                <a:gd name="T76" fmla="*/ 304 w 307"/>
                <a:gd name="T77" fmla="*/ 479 h 485"/>
                <a:gd name="T78" fmla="*/ 295 w 307"/>
                <a:gd name="T79" fmla="*/ 462 h 485"/>
                <a:gd name="T80" fmla="*/ 285 w 307"/>
                <a:gd name="T81" fmla="*/ 433 h 485"/>
                <a:gd name="T82" fmla="*/ 282 w 307"/>
                <a:gd name="T83" fmla="*/ 418 h 485"/>
                <a:gd name="T84" fmla="*/ 282 w 307"/>
                <a:gd name="T85" fmla="*/ 202 h 485"/>
                <a:gd name="T86" fmla="*/ 149 w 307"/>
                <a:gd name="T87" fmla="*/ 166 h 485"/>
                <a:gd name="T88" fmla="*/ 158 w 307"/>
                <a:gd name="T89" fmla="*/ 188 h 485"/>
                <a:gd name="T90" fmla="*/ 149 w 307"/>
                <a:gd name="T91" fmla="*/ 16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7" h="485">
                  <a:moveTo>
                    <a:pt x="140" y="0"/>
                  </a:moveTo>
                  <a:cubicBezTo>
                    <a:pt x="141" y="4"/>
                    <a:pt x="143" y="7"/>
                    <a:pt x="142" y="12"/>
                  </a:cubicBezTo>
                  <a:cubicBezTo>
                    <a:pt x="142" y="17"/>
                    <a:pt x="144" y="28"/>
                    <a:pt x="146" y="31"/>
                  </a:cubicBezTo>
                  <a:cubicBezTo>
                    <a:pt x="149" y="34"/>
                    <a:pt x="152" y="39"/>
                    <a:pt x="153" y="42"/>
                  </a:cubicBezTo>
                  <a:cubicBezTo>
                    <a:pt x="154" y="46"/>
                    <a:pt x="156" y="50"/>
                    <a:pt x="157" y="54"/>
                  </a:cubicBezTo>
                  <a:cubicBezTo>
                    <a:pt x="157" y="59"/>
                    <a:pt x="158" y="65"/>
                    <a:pt x="159" y="67"/>
                  </a:cubicBezTo>
                  <a:cubicBezTo>
                    <a:pt x="160" y="69"/>
                    <a:pt x="166" y="75"/>
                    <a:pt x="169" y="76"/>
                  </a:cubicBezTo>
                  <a:cubicBezTo>
                    <a:pt x="171" y="78"/>
                    <a:pt x="169" y="81"/>
                    <a:pt x="163" y="82"/>
                  </a:cubicBezTo>
                  <a:cubicBezTo>
                    <a:pt x="157" y="82"/>
                    <a:pt x="154" y="83"/>
                    <a:pt x="151" y="84"/>
                  </a:cubicBezTo>
                  <a:cubicBezTo>
                    <a:pt x="149" y="86"/>
                    <a:pt x="143" y="88"/>
                    <a:pt x="139" y="100"/>
                  </a:cubicBezTo>
                  <a:cubicBezTo>
                    <a:pt x="136" y="113"/>
                    <a:pt x="137" y="116"/>
                    <a:pt x="140" y="122"/>
                  </a:cubicBezTo>
                  <a:cubicBezTo>
                    <a:pt x="143" y="128"/>
                    <a:pt x="145" y="135"/>
                    <a:pt x="145" y="135"/>
                  </a:cubicBezTo>
                  <a:cubicBezTo>
                    <a:pt x="145" y="135"/>
                    <a:pt x="137" y="133"/>
                    <a:pt x="136" y="131"/>
                  </a:cubicBezTo>
                  <a:cubicBezTo>
                    <a:pt x="134" y="129"/>
                    <a:pt x="128" y="126"/>
                    <a:pt x="128" y="126"/>
                  </a:cubicBezTo>
                  <a:cubicBezTo>
                    <a:pt x="128" y="126"/>
                    <a:pt x="129" y="140"/>
                    <a:pt x="132" y="144"/>
                  </a:cubicBezTo>
                  <a:cubicBezTo>
                    <a:pt x="135" y="147"/>
                    <a:pt x="137" y="147"/>
                    <a:pt x="135" y="150"/>
                  </a:cubicBezTo>
                  <a:cubicBezTo>
                    <a:pt x="132" y="152"/>
                    <a:pt x="128" y="149"/>
                    <a:pt x="127" y="155"/>
                  </a:cubicBezTo>
                  <a:cubicBezTo>
                    <a:pt x="127" y="160"/>
                    <a:pt x="128" y="160"/>
                    <a:pt x="126" y="162"/>
                  </a:cubicBezTo>
                  <a:cubicBezTo>
                    <a:pt x="123" y="163"/>
                    <a:pt x="124" y="163"/>
                    <a:pt x="126" y="168"/>
                  </a:cubicBezTo>
                  <a:cubicBezTo>
                    <a:pt x="128" y="173"/>
                    <a:pt x="135" y="175"/>
                    <a:pt x="137" y="180"/>
                  </a:cubicBezTo>
                  <a:cubicBezTo>
                    <a:pt x="138" y="184"/>
                    <a:pt x="142" y="186"/>
                    <a:pt x="144" y="193"/>
                  </a:cubicBezTo>
                  <a:cubicBezTo>
                    <a:pt x="147" y="200"/>
                    <a:pt x="152" y="213"/>
                    <a:pt x="157" y="216"/>
                  </a:cubicBezTo>
                  <a:cubicBezTo>
                    <a:pt x="161" y="220"/>
                    <a:pt x="170" y="218"/>
                    <a:pt x="169" y="214"/>
                  </a:cubicBezTo>
                  <a:cubicBezTo>
                    <a:pt x="168" y="211"/>
                    <a:pt x="169" y="205"/>
                    <a:pt x="174" y="204"/>
                  </a:cubicBezTo>
                  <a:cubicBezTo>
                    <a:pt x="178" y="203"/>
                    <a:pt x="183" y="207"/>
                    <a:pt x="183" y="211"/>
                  </a:cubicBezTo>
                  <a:cubicBezTo>
                    <a:pt x="183" y="215"/>
                    <a:pt x="186" y="217"/>
                    <a:pt x="189" y="218"/>
                  </a:cubicBezTo>
                  <a:cubicBezTo>
                    <a:pt x="192" y="220"/>
                    <a:pt x="199" y="224"/>
                    <a:pt x="201" y="222"/>
                  </a:cubicBezTo>
                  <a:cubicBezTo>
                    <a:pt x="202" y="221"/>
                    <a:pt x="207" y="219"/>
                    <a:pt x="211" y="220"/>
                  </a:cubicBezTo>
                  <a:cubicBezTo>
                    <a:pt x="214" y="222"/>
                    <a:pt x="222" y="228"/>
                    <a:pt x="218" y="231"/>
                  </a:cubicBezTo>
                  <a:cubicBezTo>
                    <a:pt x="215" y="235"/>
                    <a:pt x="211" y="234"/>
                    <a:pt x="210" y="234"/>
                  </a:cubicBezTo>
                  <a:cubicBezTo>
                    <a:pt x="209" y="234"/>
                    <a:pt x="209" y="237"/>
                    <a:pt x="210" y="241"/>
                  </a:cubicBezTo>
                  <a:cubicBezTo>
                    <a:pt x="210" y="244"/>
                    <a:pt x="213" y="245"/>
                    <a:pt x="216" y="251"/>
                  </a:cubicBezTo>
                  <a:cubicBezTo>
                    <a:pt x="219" y="256"/>
                    <a:pt x="221" y="257"/>
                    <a:pt x="228" y="260"/>
                  </a:cubicBezTo>
                  <a:cubicBezTo>
                    <a:pt x="236" y="264"/>
                    <a:pt x="243" y="260"/>
                    <a:pt x="245" y="264"/>
                  </a:cubicBezTo>
                  <a:cubicBezTo>
                    <a:pt x="246" y="268"/>
                    <a:pt x="248" y="275"/>
                    <a:pt x="245" y="278"/>
                  </a:cubicBezTo>
                  <a:cubicBezTo>
                    <a:pt x="242" y="281"/>
                    <a:pt x="237" y="278"/>
                    <a:pt x="237" y="288"/>
                  </a:cubicBezTo>
                  <a:cubicBezTo>
                    <a:pt x="238" y="297"/>
                    <a:pt x="237" y="301"/>
                    <a:pt x="240" y="305"/>
                  </a:cubicBezTo>
                  <a:cubicBezTo>
                    <a:pt x="243" y="309"/>
                    <a:pt x="264" y="317"/>
                    <a:pt x="264" y="319"/>
                  </a:cubicBezTo>
                  <a:cubicBezTo>
                    <a:pt x="265" y="322"/>
                    <a:pt x="258" y="320"/>
                    <a:pt x="258" y="325"/>
                  </a:cubicBezTo>
                  <a:cubicBezTo>
                    <a:pt x="258" y="329"/>
                    <a:pt x="258" y="331"/>
                    <a:pt x="258" y="336"/>
                  </a:cubicBezTo>
                  <a:cubicBezTo>
                    <a:pt x="258" y="342"/>
                    <a:pt x="260" y="344"/>
                    <a:pt x="263" y="348"/>
                  </a:cubicBezTo>
                  <a:cubicBezTo>
                    <a:pt x="266" y="352"/>
                    <a:pt x="276" y="357"/>
                    <a:pt x="278" y="363"/>
                  </a:cubicBezTo>
                  <a:cubicBezTo>
                    <a:pt x="280" y="370"/>
                    <a:pt x="283" y="404"/>
                    <a:pt x="283" y="404"/>
                  </a:cubicBezTo>
                  <a:cubicBezTo>
                    <a:pt x="283" y="404"/>
                    <a:pt x="276" y="400"/>
                    <a:pt x="271" y="399"/>
                  </a:cubicBezTo>
                  <a:cubicBezTo>
                    <a:pt x="266" y="398"/>
                    <a:pt x="258" y="393"/>
                    <a:pt x="251" y="388"/>
                  </a:cubicBezTo>
                  <a:cubicBezTo>
                    <a:pt x="244" y="383"/>
                    <a:pt x="240" y="387"/>
                    <a:pt x="226" y="378"/>
                  </a:cubicBezTo>
                  <a:cubicBezTo>
                    <a:pt x="212" y="369"/>
                    <a:pt x="193" y="359"/>
                    <a:pt x="182" y="353"/>
                  </a:cubicBezTo>
                  <a:cubicBezTo>
                    <a:pt x="170" y="347"/>
                    <a:pt x="151" y="329"/>
                    <a:pt x="144" y="321"/>
                  </a:cubicBezTo>
                  <a:cubicBezTo>
                    <a:pt x="137" y="313"/>
                    <a:pt x="139" y="302"/>
                    <a:pt x="135" y="297"/>
                  </a:cubicBezTo>
                  <a:cubicBezTo>
                    <a:pt x="131" y="292"/>
                    <a:pt x="124" y="290"/>
                    <a:pt x="122" y="288"/>
                  </a:cubicBezTo>
                  <a:cubicBezTo>
                    <a:pt x="120" y="285"/>
                    <a:pt x="125" y="285"/>
                    <a:pt x="126" y="281"/>
                  </a:cubicBezTo>
                  <a:cubicBezTo>
                    <a:pt x="126" y="277"/>
                    <a:pt x="122" y="274"/>
                    <a:pt x="125" y="270"/>
                  </a:cubicBezTo>
                  <a:cubicBezTo>
                    <a:pt x="128" y="266"/>
                    <a:pt x="130" y="261"/>
                    <a:pt x="128" y="258"/>
                  </a:cubicBezTo>
                  <a:cubicBezTo>
                    <a:pt x="126" y="255"/>
                    <a:pt x="125" y="237"/>
                    <a:pt x="119" y="231"/>
                  </a:cubicBezTo>
                  <a:cubicBezTo>
                    <a:pt x="113" y="226"/>
                    <a:pt x="111" y="218"/>
                    <a:pt x="111" y="212"/>
                  </a:cubicBezTo>
                  <a:cubicBezTo>
                    <a:pt x="111" y="206"/>
                    <a:pt x="110" y="201"/>
                    <a:pt x="107" y="197"/>
                  </a:cubicBezTo>
                  <a:cubicBezTo>
                    <a:pt x="104" y="192"/>
                    <a:pt x="105" y="184"/>
                    <a:pt x="101" y="181"/>
                  </a:cubicBezTo>
                  <a:cubicBezTo>
                    <a:pt x="97" y="178"/>
                    <a:pt x="98" y="176"/>
                    <a:pt x="97" y="170"/>
                  </a:cubicBezTo>
                  <a:cubicBezTo>
                    <a:pt x="97" y="163"/>
                    <a:pt x="102" y="159"/>
                    <a:pt x="98" y="155"/>
                  </a:cubicBezTo>
                  <a:cubicBezTo>
                    <a:pt x="95" y="150"/>
                    <a:pt x="92" y="147"/>
                    <a:pt x="92" y="144"/>
                  </a:cubicBezTo>
                  <a:cubicBezTo>
                    <a:pt x="91" y="140"/>
                    <a:pt x="88" y="143"/>
                    <a:pt x="83" y="139"/>
                  </a:cubicBezTo>
                  <a:cubicBezTo>
                    <a:pt x="77" y="134"/>
                    <a:pt x="69" y="128"/>
                    <a:pt x="67" y="124"/>
                  </a:cubicBezTo>
                  <a:cubicBezTo>
                    <a:pt x="66" y="120"/>
                    <a:pt x="66" y="115"/>
                    <a:pt x="68" y="113"/>
                  </a:cubicBezTo>
                  <a:cubicBezTo>
                    <a:pt x="70" y="111"/>
                    <a:pt x="70" y="107"/>
                    <a:pt x="66" y="110"/>
                  </a:cubicBezTo>
                  <a:cubicBezTo>
                    <a:pt x="62" y="113"/>
                    <a:pt x="57" y="121"/>
                    <a:pt x="56" y="125"/>
                  </a:cubicBezTo>
                  <a:cubicBezTo>
                    <a:pt x="55" y="130"/>
                    <a:pt x="56" y="133"/>
                    <a:pt x="61" y="138"/>
                  </a:cubicBezTo>
                  <a:cubicBezTo>
                    <a:pt x="66" y="143"/>
                    <a:pt x="67" y="147"/>
                    <a:pt x="72" y="145"/>
                  </a:cubicBezTo>
                  <a:cubicBezTo>
                    <a:pt x="78" y="143"/>
                    <a:pt x="80" y="149"/>
                    <a:pt x="78" y="152"/>
                  </a:cubicBezTo>
                  <a:cubicBezTo>
                    <a:pt x="75" y="154"/>
                    <a:pt x="73" y="156"/>
                    <a:pt x="73" y="158"/>
                  </a:cubicBezTo>
                  <a:cubicBezTo>
                    <a:pt x="67" y="157"/>
                    <a:pt x="67" y="157"/>
                    <a:pt x="67" y="157"/>
                  </a:cubicBezTo>
                  <a:cubicBezTo>
                    <a:pt x="67" y="153"/>
                    <a:pt x="67" y="153"/>
                    <a:pt x="67" y="153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0" y="30"/>
                    <a:pt x="110" y="30"/>
                    <a:pt x="110" y="30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0" y="0"/>
                    <a:pt x="140" y="0"/>
                    <a:pt x="140" y="0"/>
                  </a:cubicBezTo>
                  <a:close/>
                  <a:moveTo>
                    <a:pt x="304" y="479"/>
                  </a:moveTo>
                  <a:cubicBezTo>
                    <a:pt x="304" y="478"/>
                    <a:pt x="304" y="478"/>
                    <a:pt x="305" y="478"/>
                  </a:cubicBezTo>
                  <a:cubicBezTo>
                    <a:pt x="306" y="478"/>
                    <a:pt x="306" y="478"/>
                    <a:pt x="306" y="479"/>
                  </a:cubicBezTo>
                  <a:cubicBezTo>
                    <a:pt x="307" y="481"/>
                    <a:pt x="306" y="484"/>
                    <a:pt x="306" y="484"/>
                  </a:cubicBezTo>
                  <a:cubicBezTo>
                    <a:pt x="306" y="485"/>
                    <a:pt x="306" y="485"/>
                    <a:pt x="305" y="485"/>
                  </a:cubicBezTo>
                  <a:cubicBezTo>
                    <a:pt x="305" y="485"/>
                    <a:pt x="304" y="484"/>
                    <a:pt x="304" y="484"/>
                  </a:cubicBezTo>
                  <a:cubicBezTo>
                    <a:pt x="304" y="484"/>
                    <a:pt x="305" y="481"/>
                    <a:pt x="304" y="479"/>
                  </a:cubicBezTo>
                  <a:close/>
                  <a:moveTo>
                    <a:pt x="295" y="455"/>
                  </a:moveTo>
                  <a:cubicBezTo>
                    <a:pt x="298" y="456"/>
                    <a:pt x="306" y="462"/>
                    <a:pt x="302" y="463"/>
                  </a:cubicBezTo>
                  <a:cubicBezTo>
                    <a:pt x="299" y="464"/>
                    <a:pt x="296" y="465"/>
                    <a:pt x="295" y="462"/>
                  </a:cubicBezTo>
                  <a:cubicBezTo>
                    <a:pt x="294" y="458"/>
                    <a:pt x="295" y="455"/>
                    <a:pt x="295" y="455"/>
                  </a:cubicBezTo>
                  <a:close/>
                  <a:moveTo>
                    <a:pt x="282" y="418"/>
                  </a:moveTo>
                  <a:cubicBezTo>
                    <a:pt x="282" y="422"/>
                    <a:pt x="287" y="427"/>
                    <a:pt x="285" y="433"/>
                  </a:cubicBezTo>
                  <a:cubicBezTo>
                    <a:pt x="283" y="440"/>
                    <a:pt x="289" y="443"/>
                    <a:pt x="290" y="437"/>
                  </a:cubicBezTo>
                  <a:cubicBezTo>
                    <a:pt x="292" y="431"/>
                    <a:pt x="294" y="426"/>
                    <a:pt x="289" y="421"/>
                  </a:cubicBezTo>
                  <a:cubicBezTo>
                    <a:pt x="285" y="415"/>
                    <a:pt x="282" y="418"/>
                    <a:pt x="282" y="418"/>
                  </a:cubicBezTo>
                  <a:close/>
                  <a:moveTo>
                    <a:pt x="263" y="195"/>
                  </a:moveTo>
                  <a:cubicBezTo>
                    <a:pt x="263" y="195"/>
                    <a:pt x="260" y="198"/>
                    <a:pt x="261" y="201"/>
                  </a:cubicBezTo>
                  <a:cubicBezTo>
                    <a:pt x="261" y="204"/>
                    <a:pt x="278" y="203"/>
                    <a:pt x="282" y="202"/>
                  </a:cubicBezTo>
                  <a:cubicBezTo>
                    <a:pt x="286" y="200"/>
                    <a:pt x="280" y="195"/>
                    <a:pt x="278" y="196"/>
                  </a:cubicBezTo>
                  <a:cubicBezTo>
                    <a:pt x="275" y="196"/>
                    <a:pt x="265" y="195"/>
                    <a:pt x="263" y="195"/>
                  </a:cubicBezTo>
                  <a:close/>
                  <a:moveTo>
                    <a:pt x="149" y="166"/>
                  </a:moveTo>
                  <a:cubicBezTo>
                    <a:pt x="148" y="169"/>
                    <a:pt x="149" y="176"/>
                    <a:pt x="151" y="179"/>
                  </a:cubicBezTo>
                  <a:cubicBezTo>
                    <a:pt x="151" y="180"/>
                    <a:pt x="153" y="180"/>
                    <a:pt x="154" y="181"/>
                  </a:cubicBezTo>
                  <a:cubicBezTo>
                    <a:pt x="157" y="183"/>
                    <a:pt x="155" y="188"/>
                    <a:pt x="158" y="188"/>
                  </a:cubicBezTo>
                  <a:cubicBezTo>
                    <a:pt x="160" y="189"/>
                    <a:pt x="159" y="181"/>
                    <a:pt x="159" y="174"/>
                  </a:cubicBezTo>
                  <a:cubicBezTo>
                    <a:pt x="158" y="168"/>
                    <a:pt x="159" y="167"/>
                    <a:pt x="157" y="167"/>
                  </a:cubicBezTo>
                  <a:cubicBezTo>
                    <a:pt x="154" y="166"/>
                    <a:pt x="149" y="166"/>
                    <a:pt x="149" y="166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9" name="Калужская обл.">
              <a:extLst>
                <a:ext uri="{FF2B5EF4-FFF2-40B4-BE49-F238E27FC236}">
                  <a16:creationId xmlns:a16="http://schemas.microsoft.com/office/drawing/2014/main" id="{A489B8C5-0DC3-CDBD-3B09-4157B56D8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570" y="3915035"/>
              <a:ext cx="362679" cy="218625"/>
            </a:xfrm>
            <a:custGeom>
              <a:avLst/>
              <a:gdLst>
                <a:gd name="T0" fmla="*/ 0 w 142"/>
                <a:gd name="T1" fmla="*/ 14 h 96"/>
                <a:gd name="T2" fmla="*/ 4 w 142"/>
                <a:gd name="T3" fmla="*/ 10 h 96"/>
                <a:gd name="T4" fmla="*/ 12 w 142"/>
                <a:gd name="T5" fmla="*/ 8 h 96"/>
                <a:gd name="T6" fmla="*/ 19 w 142"/>
                <a:gd name="T7" fmla="*/ 0 h 96"/>
                <a:gd name="T8" fmla="*/ 31 w 142"/>
                <a:gd name="T9" fmla="*/ 0 h 96"/>
                <a:gd name="T10" fmla="*/ 40 w 142"/>
                <a:gd name="T11" fmla="*/ 16 h 96"/>
                <a:gd name="T12" fmla="*/ 50 w 142"/>
                <a:gd name="T13" fmla="*/ 12 h 96"/>
                <a:gd name="T14" fmla="*/ 65 w 142"/>
                <a:gd name="T15" fmla="*/ 25 h 96"/>
                <a:gd name="T16" fmla="*/ 81 w 142"/>
                <a:gd name="T17" fmla="*/ 14 h 96"/>
                <a:gd name="T18" fmla="*/ 104 w 142"/>
                <a:gd name="T19" fmla="*/ 16 h 96"/>
                <a:gd name="T20" fmla="*/ 121 w 142"/>
                <a:gd name="T21" fmla="*/ 33 h 96"/>
                <a:gd name="T22" fmla="*/ 133 w 142"/>
                <a:gd name="T23" fmla="*/ 35 h 96"/>
                <a:gd name="T24" fmla="*/ 142 w 142"/>
                <a:gd name="T25" fmla="*/ 50 h 96"/>
                <a:gd name="T26" fmla="*/ 131 w 142"/>
                <a:gd name="T27" fmla="*/ 62 h 96"/>
                <a:gd name="T28" fmla="*/ 131 w 142"/>
                <a:gd name="T29" fmla="*/ 81 h 96"/>
                <a:gd name="T30" fmla="*/ 127 w 142"/>
                <a:gd name="T31" fmla="*/ 77 h 96"/>
                <a:gd name="T32" fmla="*/ 123 w 142"/>
                <a:gd name="T33" fmla="*/ 83 h 96"/>
                <a:gd name="T34" fmla="*/ 112 w 142"/>
                <a:gd name="T35" fmla="*/ 73 h 96"/>
                <a:gd name="T36" fmla="*/ 104 w 142"/>
                <a:gd name="T37" fmla="*/ 75 h 96"/>
                <a:gd name="T38" fmla="*/ 104 w 142"/>
                <a:gd name="T39" fmla="*/ 87 h 96"/>
                <a:gd name="T40" fmla="*/ 98 w 142"/>
                <a:gd name="T41" fmla="*/ 87 h 96"/>
                <a:gd name="T42" fmla="*/ 81 w 142"/>
                <a:gd name="T43" fmla="*/ 75 h 96"/>
                <a:gd name="T44" fmla="*/ 71 w 142"/>
                <a:gd name="T45" fmla="*/ 77 h 96"/>
                <a:gd name="T46" fmla="*/ 67 w 142"/>
                <a:gd name="T47" fmla="*/ 85 h 96"/>
                <a:gd name="T48" fmla="*/ 54 w 142"/>
                <a:gd name="T49" fmla="*/ 83 h 96"/>
                <a:gd name="T50" fmla="*/ 44 w 142"/>
                <a:gd name="T51" fmla="*/ 96 h 96"/>
                <a:gd name="T52" fmla="*/ 42 w 142"/>
                <a:gd name="T53" fmla="*/ 93 h 96"/>
                <a:gd name="T54" fmla="*/ 27 w 142"/>
                <a:gd name="T55" fmla="*/ 93 h 96"/>
                <a:gd name="T56" fmla="*/ 12 w 142"/>
                <a:gd name="T57" fmla="*/ 87 h 96"/>
                <a:gd name="T58" fmla="*/ 12 w 142"/>
                <a:gd name="T59" fmla="*/ 79 h 96"/>
                <a:gd name="T60" fmla="*/ 2 w 142"/>
                <a:gd name="T61" fmla="*/ 68 h 96"/>
                <a:gd name="T62" fmla="*/ 0 w 142"/>
                <a:gd name="T63" fmla="*/ 60 h 96"/>
                <a:gd name="T64" fmla="*/ 8 w 142"/>
                <a:gd name="T65" fmla="*/ 54 h 96"/>
                <a:gd name="T66" fmla="*/ 8 w 142"/>
                <a:gd name="T67" fmla="*/ 41 h 96"/>
                <a:gd name="T68" fmla="*/ 6 w 142"/>
                <a:gd name="T69" fmla="*/ 31 h 96"/>
                <a:gd name="T70" fmla="*/ 4 w 142"/>
                <a:gd name="T71" fmla="*/ 14 h 96"/>
                <a:gd name="T72" fmla="*/ 0 w 142"/>
                <a:gd name="T73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96">
                  <a:moveTo>
                    <a:pt x="0" y="14"/>
                  </a:moveTo>
                  <a:lnTo>
                    <a:pt x="4" y="10"/>
                  </a:lnTo>
                  <a:lnTo>
                    <a:pt x="12" y="8"/>
                  </a:lnTo>
                  <a:lnTo>
                    <a:pt x="19" y="0"/>
                  </a:lnTo>
                  <a:lnTo>
                    <a:pt x="31" y="0"/>
                  </a:lnTo>
                  <a:lnTo>
                    <a:pt x="40" y="16"/>
                  </a:lnTo>
                  <a:lnTo>
                    <a:pt x="50" y="12"/>
                  </a:lnTo>
                  <a:lnTo>
                    <a:pt x="65" y="25"/>
                  </a:lnTo>
                  <a:lnTo>
                    <a:pt x="81" y="14"/>
                  </a:lnTo>
                  <a:lnTo>
                    <a:pt x="104" y="16"/>
                  </a:lnTo>
                  <a:lnTo>
                    <a:pt x="121" y="33"/>
                  </a:lnTo>
                  <a:lnTo>
                    <a:pt x="133" y="35"/>
                  </a:lnTo>
                  <a:lnTo>
                    <a:pt x="142" y="50"/>
                  </a:lnTo>
                  <a:lnTo>
                    <a:pt x="131" y="62"/>
                  </a:lnTo>
                  <a:lnTo>
                    <a:pt x="131" y="81"/>
                  </a:lnTo>
                  <a:lnTo>
                    <a:pt x="127" y="77"/>
                  </a:lnTo>
                  <a:lnTo>
                    <a:pt x="123" y="83"/>
                  </a:lnTo>
                  <a:lnTo>
                    <a:pt x="112" y="73"/>
                  </a:lnTo>
                  <a:lnTo>
                    <a:pt x="104" y="75"/>
                  </a:lnTo>
                  <a:lnTo>
                    <a:pt x="104" y="87"/>
                  </a:lnTo>
                  <a:lnTo>
                    <a:pt x="98" y="87"/>
                  </a:lnTo>
                  <a:lnTo>
                    <a:pt x="81" y="75"/>
                  </a:lnTo>
                  <a:lnTo>
                    <a:pt x="71" y="77"/>
                  </a:lnTo>
                  <a:lnTo>
                    <a:pt x="67" y="85"/>
                  </a:lnTo>
                  <a:lnTo>
                    <a:pt x="54" y="83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27" y="93"/>
                  </a:lnTo>
                  <a:lnTo>
                    <a:pt x="12" y="87"/>
                  </a:lnTo>
                  <a:lnTo>
                    <a:pt x="12" y="79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8" y="54"/>
                  </a:lnTo>
                  <a:lnTo>
                    <a:pt x="8" y="41"/>
                  </a:lnTo>
                  <a:lnTo>
                    <a:pt x="6" y="31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0" name="Калининградская обл.">
              <a:extLst>
                <a:ext uri="{FF2B5EF4-FFF2-40B4-BE49-F238E27FC236}">
                  <a16:creationId xmlns:a16="http://schemas.microsoft.com/office/drawing/2014/main" id="{6CEE2277-650C-DED8-59DA-A57BFE7B8848}"/>
                </a:ext>
              </a:extLst>
            </p:cNvPr>
            <p:cNvSpPr/>
            <p:nvPr/>
          </p:nvSpPr>
          <p:spPr>
            <a:xfrm>
              <a:off x="823516" y="2996717"/>
              <a:ext cx="199088" cy="238727"/>
            </a:xfrm>
            <a:custGeom>
              <a:avLst/>
              <a:gdLst>
                <a:gd name="connsiteX0" fmla="*/ 102918 w 495348"/>
                <a:gd name="connsiteY0" fmla="*/ 5220 h 574304"/>
                <a:gd name="connsiteX1" fmla="*/ 83868 w 495348"/>
                <a:gd name="connsiteY1" fmla="*/ 12840 h 574304"/>
                <a:gd name="connsiteX2" fmla="*/ 72438 w 495348"/>
                <a:gd name="connsiteY2" fmla="*/ 24270 h 574304"/>
                <a:gd name="connsiteX3" fmla="*/ 41958 w 495348"/>
                <a:gd name="connsiteY3" fmla="*/ 43320 h 574304"/>
                <a:gd name="connsiteX4" fmla="*/ 38148 w 495348"/>
                <a:gd name="connsiteY4" fmla="*/ 58560 h 574304"/>
                <a:gd name="connsiteX5" fmla="*/ 15288 w 495348"/>
                <a:gd name="connsiteY5" fmla="*/ 89040 h 574304"/>
                <a:gd name="connsiteX6" fmla="*/ 11478 w 495348"/>
                <a:gd name="connsiteY6" fmla="*/ 100470 h 574304"/>
                <a:gd name="connsiteX7" fmla="*/ 48 w 495348"/>
                <a:gd name="connsiteY7" fmla="*/ 115710 h 574304"/>
                <a:gd name="connsiteX8" fmla="*/ 7668 w 495348"/>
                <a:gd name="connsiteY8" fmla="*/ 127140 h 574304"/>
                <a:gd name="connsiteX9" fmla="*/ 22908 w 495348"/>
                <a:gd name="connsiteY9" fmla="*/ 153810 h 574304"/>
                <a:gd name="connsiteX10" fmla="*/ 26718 w 495348"/>
                <a:gd name="connsiteY10" fmla="*/ 180480 h 574304"/>
                <a:gd name="connsiteX11" fmla="*/ 30528 w 495348"/>
                <a:gd name="connsiteY11" fmla="*/ 191910 h 574304"/>
                <a:gd name="connsiteX12" fmla="*/ 34338 w 495348"/>
                <a:gd name="connsiteY12" fmla="*/ 207150 h 574304"/>
                <a:gd name="connsiteX13" fmla="*/ 41958 w 495348"/>
                <a:gd name="connsiteY13" fmla="*/ 230010 h 574304"/>
                <a:gd name="connsiteX14" fmla="*/ 61008 w 495348"/>
                <a:gd name="connsiteY14" fmla="*/ 268110 h 574304"/>
                <a:gd name="connsiteX15" fmla="*/ 72438 w 495348"/>
                <a:gd name="connsiteY15" fmla="*/ 287160 h 574304"/>
                <a:gd name="connsiteX16" fmla="*/ 80058 w 495348"/>
                <a:gd name="connsiteY16" fmla="*/ 302400 h 574304"/>
                <a:gd name="connsiteX17" fmla="*/ 99108 w 495348"/>
                <a:gd name="connsiteY17" fmla="*/ 329070 h 574304"/>
                <a:gd name="connsiteX18" fmla="*/ 106728 w 495348"/>
                <a:gd name="connsiteY18" fmla="*/ 340500 h 574304"/>
                <a:gd name="connsiteX19" fmla="*/ 121968 w 495348"/>
                <a:gd name="connsiteY19" fmla="*/ 386220 h 574304"/>
                <a:gd name="connsiteX20" fmla="*/ 179118 w 495348"/>
                <a:gd name="connsiteY20" fmla="*/ 435750 h 574304"/>
                <a:gd name="connsiteX21" fmla="*/ 190548 w 495348"/>
                <a:gd name="connsiteY21" fmla="*/ 443370 h 574304"/>
                <a:gd name="connsiteX22" fmla="*/ 205788 w 495348"/>
                <a:gd name="connsiteY22" fmla="*/ 458610 h 574304"/>
                <a:gd name="connsiteX23" fmla="*/ 236268 w 495348"/>
                <a:gd name="connsiteY23" fmla="*/ 477660 h 574304"/>
                <a:gd name="connsiteX24" fmla="*/ 297228 w 495348"/>
                <a:gd name="connsiteY24" fmla="*/ 531000 h 574304"/>
                <a:gd name="connsiteX25" fmla="*/ 320088 w 495348"/>
                <a:gd name="connsiteY25" fmla="*/ 542430 h 574304"/>
                <a:gd name="connsiteX26" fmla="*/ 331518 w 495348"/>
                <a:gd name="connsiteY26" fmla="*/ 553860 h 574304"/>
                <a:gd name="connsiteX27" fmla="*/ 342948 w 495348"/>
                <a:gd name="connsiteY27" fmla="*/ 561480 h 574304"/>
                <a:gd name="connsiteX28" fmla="*/ 350568 w 495348"/>
                <a:gd name="connsiteY28" fmla="*/ 572910 h 574304"/>
                <a:gd name="connsiteX29" fmla="*/ 445818 w 495348"/>
                <a:gd name="connsiteY29" fmla="*/ 565290 h 574304"/>
                <a:gd name="connsiteX30" fmla="*/ 461058 w 495348"/>
                <a:gd name="connsiteY30" fmla="*/ 553860 h 574304"/>
                <a:gd name="connsiteX31" fmla="*/ 472488 w 495348"/>
                <a:gd name="connsiteY31" fmla="*/ 519570 h 574304"/>
                <a:gd name="connsiteX32" fmla="*/ 480108 w 495348"/>
                <a:gd name="connsiteY32" fmla="*/ 504330 h 574304"/>
                <a:gd name="connsiteX33" fmla="*/ 487728 w 495348"/>
                <a:gd name="connsiteY33" fmla="*/ 477660 h 574304"/>
                <a:gd name="connsiteX34" fmla="*/ 491538 w 495348"/>
                <a:gd name="connsiteY34" fmla="*/ 447180 h 574304"/>
                <a:gd name="connsiteX35" fmla="*/ 495348 w 495348"/>
                <a:gd name="connsiteY35" fmla="*/ 435750 h 574304"/>
                <a:gd name="connsiteX36" fmla="*/ 480108 w 495348"/>
                <a:gd name="connsiteY36" fmla="*/ 401460 h 574304"/>
                <a:gd name="connsiteX37" fmla="*/ 472488 w 495348"/>
                <a:gd name="connsiteY37" fmla="*/ 386220 h 574304"/>
                <a:gd name="connsiteX38" fmla="*/ 453438 w 495348"/>
                <a:gd name="connsiteY38" fmla="*/ 378600 h 574304"/>
                <a:gd name="connsiteX39" fmla="*/ 442008 w 495348"/>
                <a:gd name="connsiteY39" fmla="*/ 367170 h 574304"/>
                <a:gd name="connsiteX40" fmla="*/ 415338 w 495348"/>
                <a:gd name="connsiteY40" fmla="*/ 359550 h 574304"/>
                <a:gd name="connsiteX41" fmla="*/ 365808 w 495348"/>
                <a:gd name="connsiteY41" fmla="*/ 332880 h 574304"/>
                <a:gd name="connsiteX42" fmla="*/ 365808 w 495348"/>
                <a:gd name="connsiteY42" fmla="*/ 245250 h 574304"/>
                <a:gd name="connsiteX43" fmla="*/ 327708 w 495348"/>
                <a:gd name="connsiteY43" fmla="*/ 241440 h 574304"/>
                <a:gd name="connsiteX44" fmla="*/ 304848 w 495348"/>
                <a:gd name="connsiteY44" fmla="*/ 230010 h 574304"/>
                <a:gd name="connsiteX45" fmla="*/ 293418 w 495348"/>
                <a:gd name="connsiteY45" fmla="*/ 226200 h 574304"/>
                <a:gd name="connsiteX46" fmla="*/ 278178 w 495348"/>
                <a:gd name="connsiteY46" fmla="*/ 218580 h 574304"/>
                <a:gd name="connsiteX47" fmla="*/ 270558 w 495348"/>
                <a:gd name="connsiteY47" fmla="*/ 207150 h 574304"/>
                <a:gd name="connsiteX48" fmla="*/ 262938 w 495348"/>
                <a:gd name="connsiteY48" fmla="*/ 188100 h 574304"/>
                <a:gd name="connsiteX49" fmla="*/ 251508 w 495348"/>
                <a:gd name="connsiteY49" fmla="*/ 176670 h 574304"/>
                <a:gd name="connsiteX50" fmla="*/ 243888 w 495348"/>
                <a:gd name="connsiteY50" fmla="*/ 130950 h 574304"/>
                <a:gd name="connsiteX51" fmla="*/ 236268 w 495348"/>
                <a:gd name="connsiteY51" fmla="*/ 108090 h 574304"/>
                <a:gd name="connsiteX52" fmla="*/ 224838 w 495348"/>
                <a:gd name="connsiteY52" fmla="*/ 92850 h 574304"/>
                <a:gd name="connsiteX53" fmla="*/ 221028 w 495348"/>
                <a:gd name="connsiteY53" fmla="*/ 73800 h 574304"/>
                <a:gd name="connsiteX54" fmla="*/ 209598 w 495348"/>
                <a:gd name="connsiteY54" fmla="*/ 54750 h 574304"/>
                <a:gd name="connsiteX55" fmla="*/ 163878 w 495348"/>
                <a:gd name="connsiteY55" fmla="*/ 16650 h 574304"/>
                <a:gd name="connsiteX56" fmla="*/ 144828 w 495348"/>
                <a:gd name="connsiteY56" fmla="*/ 9030 h 574304"/>
                <a:gd name="connsiteX57" fmla="*/ 133398 w 495348"/>
                <a:gd name="connsiteY57" fmla="*/ 1410 h 574304"/>
                <a:gd name="connsiteX58" fmla="*/ 102918 w 495348"/>
                <a:gd name="connsiteY58" fmla="*/ 5220 h 574304"/>
                <a:gd name="connsiteX0" fmla="*/ 102918 w 495348"/>
                <a:gd name="connsiteY0" fmla="*/ 5220 h 594260"/>
                <a:gd name="connsiteX1" fmla="*/ 83868 w 495348"/>
                <a:gd name="connsiteY1" fmla="*/ 12840 h 594260"/>
                <a:gd name="connsiteX2" fmla="*/ 72438 w 495348"/>
                <a:gd name="connsiteY2" fmla="*/ 24270 h 594260"/>
                <a:gd name="connsiteX3" fmla="*/ 41958 w 495348"/>
                <a:gd name="connsiteY3" fmla="*/ 43320 h 594260"/>
                <a:gd name="connsiteX4" fmla="*/ 38148 w 495348"/>
                <a:gd name="connsiteY4" fmla="*/ 58560 h 594260"/>
                <a:gd name="connsiteX5" fmla="*/ 15288 w 495348"/>
                <a:gd name="connsiteY5" fmla="*/ 89040 h 594260"/>
                <a:gd name="connsiteX6" fmla="*/ 11478 w 495348"/>
                <a:gd name="connsiteY6" fmla="*/ 100470 h 594260"/>
                <a:gd name="connsiteX7" fmla="*/ 48 w 495348"/>
                <a:gd name="connsiteY7" fmla="*/ 115710 h 594260"/>
                <a:gd name="connsiteX8" fmla="*/ 7668 w 495348"/>
                <a:gd name="connsiteY8" fmla="*/ 127140 h 594260"/>
                <a:gd name="connsiteX9" fmla="*/ 22908 w 495348"/>
                <a:gd name="connsiteY9" fmla="*/ 153810 h 594260"/>
                <a:gd name="connsiteX10" fmla="*/ 26718 w 495348"/>
                <a:gd name="connsiteY10" fmla="*/ 180480 h 594260"/>
                <a:gd name="connsiteX11" fmla="*/ 30528 w 495348"/>
                <a:gd name="connsiteY11" fmla="*/ 191910 h 594260"/>
                <a:gd name="connsiteX12" fmla="*/ 34338 w 495348"/>
                <a:gd name="connsiteY12" fmla="*/ 207150 h 594260"/>
                <a:gd name="connsiteX13" fmla="*/ 41958 w 495348"/>
                <a:gd name="connsiteY13" fmla="*/ 230010 h 594260"/>
                <a:gd name="connsiteX14" fmla="*/ 61008 w 495348"/>
                <a:gd name="connsiteY14" fmla="*/ 268110 h 594260"/>
                <a:gd name="connsiteX15" fmla="*/ 72438 w 495348"/>
                <a:gd name="connsiteY15" fmla="*/ 287160 h 594260"/>
                <a:gd name="connsiteX16" fmla="*/ 80058 w 495348"/>
                <a:gd name="connsiteY16" fmla="*/ 302400 h 594260"/>
                <a:gd name="connsiteX17" fmla="*/ 99108 w 495348"/>
                <a:gd name="connsiteY17" fmla="*/ 329070 h 594260"/>
                <a:gd name="connsiteX18" fmla="*/ 106728 w 495348"/>
                <a:gd name="connsiteY18" fmla="*/ 340500 h 594260"/>
                <a:gd name="connsiteX19" fmla="*/ 121968 w 495348"/>
                <a:gd name="connsiteY19" fmla="*/ 386220 h 594260"/>
                <a:gd name="connsiteX20" fmla="*/ 179118 w 495348"/>
                <a:gd name="connsiteY20" fmla="*/ 435750 h 594260"/>
                <a:gd name="connsiteX21" fmla="*/ 190548 w 495348"/>
                <a:gd name="connsiteY21" fmla="*/ 443370 h 594260"/>
                <a:gd name="connsiteX22" fmla="*/ 205788 w 495348"/>
                <a:gd name="connsiteY22" fmla="*/ 458610 h 594260"/>
                <a:gd name="connsiteX23" fmla="*/ 236268 w 495348"/>
                <a:gd name="connsiteY23" fmla="*/ 477660 h 594260"/>
                <a:gd name="connsiteX24" fmla="*/ 297228 w 495348"/>
                <a:gd name="connsiteY24" fmla="*/ 531000 h 594260"/>
                <a:gd name="connsiteX25" fmla="*/ 320088 w 495348"/>
                <a:gd name="connsiteY25" fmla="*/ 542430 h 594260"/>
                <a:gd name="connsiteX26" fmla="*/ 331518 w 495348"/>
                <a:gd name="connsiteY26" fmla="*/ 553860 h 594260"/>
                <a:gd name="connsiteX27" fmla="*/ 342948 w 495348"/>
                <a:gd name="connsiteY27" fmla="*/ 561480 h 594260"/>
                <a:gd name="connsiteX28" fmla="*/ 321993 w 495348"/>
                <a:gd name="connsiteY28" fmla="*/ 593865 h 594260"/>
                <a:gd name="connsiteX29" fmla="*/ 445818 w 495348"/>
                <a:gd name="connsiteY29" fmla="*/ 565290 h 594260"/>
                <a:gd name="connsiteX30" fmla="*/ 461058 w 495348"/>
                <a:gd name="connsiteY30" fmla="*/ 553860 h 594260"/>
                <a:gd name="connsiteX31" fmla="*/ 472488 w 495348"/>
                <a:gd name="connsiteY31" fmla="*/ 519570 h 594260"/>
                <a:gd name="connsiteX32" fmla="*/ 480108 w 495348"/>
                <a:gd name="connsiteY32" fmla="*/ 504330 h 594260"/>
                <a:gd name="connsiteX33" fmla="*/ 487728 w 495348"/>
                <a:gd name="connsiteY33" fmla="*/ 477660 h 594260"/>
                <a:gd name="connsiteX34" fmla="*/ 491538 w 495348"/>
                <a:gd name="connsiteY34" fmla="*/ 447180 h 594260"/>
                <a:gd name="connsiteX35" fmla="*/ 495348 w 495348"/>
                <a:gd name="connsiteY35" fmla="*/ 435750 h 594260"/>
                <a:gd name="connsiteX36" fmla="*/ 480108 w 495348"/>
                <a:gd name="connsiteY36" fmla="*/ 401460 h 594260"/>
                <a:gd name="connsiteX37" fmla="*/ 472488 w 495348"/>
                <a:gd name="connsiteY37" fmla="*/ 386220 h 594260"/>
                <a:gd name="connsiteX38" fmla="*/ 453438 w 495348"/>
                <a:gd name="connsiteY38" fmla="*/ 378600 h 594260"/>
                <a:gd name="connsiteX39" fmla="*/ 442008 w 495348"/>
                <a:gd name="connsiteY39" fmla="*/ 367170 h 594260"/>
                <a:gd name="connsiteX40" fmla="*/ 415338 w 495348"/>
                <a:gd name="connsiteY40" fmla="*/ 359550 h 594260"/>
                <a:gd name="connsiteX41" fmla="*/ 365808 w 495348"/>
                <a:gd name="connsiteY41" fmla="*/ 332880 h 594260"/>
                <a:gd name="connsiteX42" fmla="*/ 365808 w 495348"/>
                <a:gd name="connsiteY42" fmla="*/ 245250 h 594260"/>
                <a:gd name="connsiteX43" fmla="*/ 327708 w 495348"/>
                <a:gd name="connsiteY43" fmla="*/ 241440 h 594260"/>
                <a:gd name="connsiteX44" fmla="*/ 304848 w 495348"/>
                <a:gd name="connsiteY44" fmla="*/ 230010 h 594260"/>
                <a:gd name="connsiteX45" fmla="*/ 293418 w 495348"/>
                <a:gd name="connsiteY45" fmla="*/ 226200 h 594260"/>
                <a:gd name="connsiteX46" fmla="*/ 278178 w 495348"/>
                <a:gd name="connsiteY46" fmla="*/ 218580 h 594260"/>
                <a:gd name="connsiteX47" fmla="*/ 270558 w 495348"/>
                <a:gd name="connsiteY47" fmla="*/ 207150 h 594260"/>
                <a:gd name="connsiteX48" fmla="*/ 262938 w 495348"/>
                <a:gd name="connsiteY48" fmla="*/ 188100 h 594260"/>
                <a:gd name="connsiteX49" fmla="*/ 251508 w 495348"/>
                <a:gd name="connsiteY49" fmla="*/ 176670 h 594260"/>
                <a:gd name="connsiteX50" fmla="*/ 243888 w 495348"/>
                <a:gd name="connsiteY50" fmla="*/ 130950 h 594260"/>
                <a:gd name="connsiteX51" fmla="*/ 236268 w 495348"/>
                <a:gd name="connsiteY51" fmla="*/ 108090 h 594260"/>
                <a:gd name="connsiteX52" fmla="*/ 224838 w 495348"/>
                <a:gd name="connsiteY52" fmla="*/ 92850 h 594260"/>
                <a:gd name="connsiteX53" fmla="*/ 221028 w 495348"/>
                <a:gd name="connsiteY53" fmla="*/ 73800 h 594260"/>
                <a:gd name="connsiteX54" fmla="*/ 209598 w 495348"/>
                <a:gd name="connsiteY54" fmla="*/ 54750 h 594260"/>
                <a:gd name="connsiteX55" fmla="*/ 163878 w 495348"/>
                <a:gd name="connsiteY55" fmla="*/ 16650 h 594260"/>
                <a:gd name="connsiteX56" fmla="*/ 144828 w 495348"/>
                <a:gd name="connsiteY56" fmla="*/ 9030 h 594260"/>
                <a:gd name="connsiteX57" fmla="*/ 133398 w 495348"/>
                <a:gd name="connsiteY57" fmla="*/ 1410 h 594260"/>
                <a:gd name="connsiteX58" fmla="*/ 102918 w 495348"/>
                <a:gd name="connsiteY58" fmla="*/ 5220 h 59426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320088 w 495348"/>
                <a:gd name="connsiteY25" fmla="*/ 542430 h 593970"/>
                <a:gd name="connsiteX26" fmla="*/ 331518 w 495348"/>
                <a:gd name="connsiteY26" fmla="*/ 55386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320088 w 495348"/>
                <a:gd name="connsiteY25" fmla="*/ 54243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4363 w 495348"/>
                <a:gd name="connsiteY23" fmla="*/ 48909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44828 w 495348"/>
                <a:gd name="connsiteY19" fmla="*/ 391935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4363 w 495348"/>
                <a:gd name="connsiteY23" fmla="*/ 48909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95348" h="593970">
                  <a:moveTo>
                    <a:pt x="102918" y="5220"/>
                  </a:moveTo>
                  <a:cubicBezTo>
                    <a:pt x="94663" y="7125"/>
                    <a:pt x="89668" y="9215"/>
                    <a:pt x="83868" y="12840"/>
                  </a:cubicBezTo>
                  <a:cubicBezTo>
                    <a:pt x="79299" y="15696"/>
                    <a:pt x="76529" y="20763"/>
                    <a:pt x="72438" y="24270"/>
                  </a:cubicBezTo>
                  <a:cubicBezTo>
                    <a:pt x="58589" y="36140"/>
                    <a:pt x="57569" y="35514"/>
                    <a:pt x="41958" y="43320"/>
                  </a:cubicBezTo>
                  <a:cubicBezTo>
                    <a:pt x="40688" y="48400"/>
                    <a:pt x="40275" y="53775"/>
                    <a:pt x="38148" y="58560"/>
                  </a:cubicBezTo>
                  <a:cubicBezTo>
                    <a:pt x="30574" y="75603"/>
                    <a:pt x="27132" y="77196"/>
                    <a:pt x="15288" y="89040"/>
                  </a:cubicBezTo>
                  <a:cubicBezTo>
                    <a:pt x="14018" y="92850"/>
                    <a:pt x="13471" y="96983"/>
                    <a:pt x="11478" y="100470"/>
                  </a:cubicBezTo>
                  <a:cubicBezTo>
                    <a:pt x="8328" y="105983"/>
                    <a:pt x="946" y="109424"/>
                    <a:pt x="48" y="115710"/>
                  </a:cubicBezTo>
                  <a:cubicBezTo>
                    <a:pt x="-600" y="120243"/>
                    <a:pt x="5396" y="123164"/>
                    <a:pt x="7668" y="127140"/>
                  </a:cubicBezTo>
                  <a:cubicBezTo>
                    <a:pt x="27004" y="160977"/>
                    <a:pt x="4343" y="125963"/>
                    <a:pt x="22908" y="153810"/>
                  </a:cubicBezTo>
                  <a:cubicBezTo>
                    <a:pt x="24178" y="162700"/>
                    <a:pt x="24957" y="171674"/>
                    <a:pt x="26718" y="180480"/>
                  </a:cubicBezTo>
                  <a:cubicBezTo>
                    <a:pt x="27506" y="184418"/>
                    <a:pt x="29425" y="188048"/>
                    <a:pt x="30528" y="191910"/>
                  </a:cubicBezTo>
                  <a:cubicBezTo>
                    <a:pt x="31967" y="196945"/>
                    <a:pt x="32833" y="202134"/>
                    <a:pt x="34338" y="207150"/>
                  </a:cubicBezTo>
                  <a:cubicBezTo>
                    <a:pt x="36646" y="214843"/>
                    <a:pt x="37825" y="223122"/>
                    <a:pt x="41958" y="230010"/>
                  </a:cubicBezTo>
                  <a:cubicBezTo>
                    <a:pt x="73750" y="282996"/>
                    <a:pt x="35082" y="216259"/>
                    <a:pt x="61008" y="268110"/>
                  </a:cubicBezTo>
                  <a:cubicBezTo>
                    <a:pt x="64320" y="274734"/>
                    <a:pt x="68842" y="280687"/>
                    <a:pt x="72438" y="287160"/>
                  </a:cubicBezTo>
                  <a:cubicBezTo>
                    <a:pt x="75196" y="292125"/>
                    <a:pt x="77240" y="297469"/>
                    <a:pt x="80058" y="302400"/>
                  </a:cubicBezTo>
                  <a:cubicBezTo>
                    <a:pt x="85189" y="311379"/>
                    <a:pt x="93267" y="320893"/>
                    <a:pt x="99108" y="329070"/>
                  </a:cubicBezTo>
                  <a:cubicBezTo>
                    <a:pt x="101770" y="332796"/>
                    <a:pt x="104188" y="336690"/>
                    <a:pt x="106728" y="340500"/>
                  </a:cubicBezTo>
                  <a:cubicBezTo>
                    <a:pt x="108498" y="346693"/>
                    <a:pt x="139492" y="384312"/>
                    <a:pt x="144828" y="391935"/>
                  </a:cubicBezTo>
                  <a:cubicBezTo>
                    <a:pt x="153835" y="404802"/>
                    <a:pt x="171498" y="427177"/>
                    <a:pt x="179118" y="435750"/>
                  </a:cubicBezTo>
                  <a:cubicBezTo>
                    <a:pt x="186738" y="444323"/>
                    <a:pt x="187071" y="440390"/>
                    <a:pt x="190548" y="443370"/>
                  </a:cubicBezTo>
                  <a:cubicBezTo>
                    <a:pt x="196003" y="448045"/>
                    <a:pt x="198485" y="450990"/>
                    <a:pt x="205788" y="458610"/>
                  </a:cubicBezTo>
                  <a:cubicBezTo>
                    <a:pt x="213091" y="466230"/>
                    <a:pt x="225791" y="477343"/>
                    <a:pt x="234363" y="489090"/>
                  </a:cubicBezTo>
                  <a:cubicBezTo>
                    <a:pt x="242936" y="500838"/>
                    <a:pt x="250238" y="519570"/>
                    <a:pt x="257223" y="529095"/>
                  </a:cubicBezTo>
                  <a:cubicBezTo>
                    <a:pt x="264208" y="538620"/>
                    <a:pt x="270876" y="540843"/>
                    <a:pt x="276273" y="546240"/>
                  </a:cubicBezTo>
                  <a:cubicBezTo>
                    <a:pt x="281670" y="551637"/>
                    <a:pt x="284528" y="556718"/>
                    <a:pt x="289608" y="561480"/>
                  </a:cubicBezTo>
                  <a:cubicBezTo>
                    <a:pt x="294688" y="566243"/>
                    <a:pt x="302943" y="572275"/>
                    <a:pt x="306753" y="574815"/>
                  </a:cubicBezTo>
                  <a:cubicBezTo>
                    <a:pt x="309293" y="578625"/>
                    <a:pt x="298816" y="595452"/>
                    <a:pt x="321993" y="593865"/>
                  </a:cubicBezTo>
                  <a:cubicBezTo>
                    <a:pt x="345170" y="592278"/>
                    <a:pt x="412026" y="572048"/>
                    <a:pt x="445818" y="565290"/>
                  </a:cubicBezTo>
                  <a:cubicBezTo>
                    <a:pt x="450898" y="561480"/>
                    <a:pt x="456925" y="558681"/>
                    <a:pt x="461058" y="553860"/>
                  </a:cubicBezTo>
                  <a:cubicBezTo>
                    <a:pt x="471505" y="541672"/>
                    <a:pt x="467643" y="534106"/>
                    <a:pt x="472488" y="519570"/>
                  </a:cubicBezTo>
                  <a:cubicBezTo>
                    <a:pt x="474284" y="514182"/>
                    <a:pt x="478167" y="509668"/>
                    <a:pt x="480108" y="504330"/>
                  </a:cubicBezTo>
                  <a:cubicBezTo>
                    <a:pt x="483268" y="495641"/>
                    <a:pt x="485188" y="486550"/>
                    <a:pt x="487728" y="477660"/>
                  </a:cubicBezTo>
                  <a:cubicBezTo>
                    <a:pt x="488998" y="467500"/>
                    <a:pt x="489706" y="457254"/>
                    <a:pt x="491538" y="447180"/>
                  </a:cubicBezTo>
                  <a:cubicBezTo>
                    <a:pt x="492256" y="443229"/>
                    <a:pt x="495348" y="439766"/>
                    <a:pt x="495348" y="435750"/>
                  </a:cubicBezTo>
                  <a:cubicBezTo>
                    <a:pt x="495348" y="422085"/>
                    <a:pt x="486304" y="412613"/>
                    <a:pt x="480108" y="401460"/>
                  </a:cubicBezTo>
                  <a:cubicBezTo>
                    <a:pt x="477350" y="396495"/>
                    <a:pt x="476800" y="389916"/>
                    <a:pt x="472488" y="386220"/>
                  </a:cubicBezTo>
                  <a:cubicBezTo>
                    <a:pt x="467295" y="381769"/>
                    <a:pt x="459788" y="381140"/>
                    <a:pt x="453438" y="378600"/>
                  </a:cubicBezTo>
                  <a:cubicBezTo>
                    <a:pt x="449628" y="374790"/>
                    <a:pt x="446491" y="370159"/>
                    <a:pt x="442008" y="367170"/>
                  </a:cubicBezTo>
                  <a:cubicBezTo>
                    <a:pt x="438728" y="364984"/>
                    <a:pt x="417370" y="360058"/>
                    <a:pt x="415338" y="359550"/>
                  </a:cubicBezTo>
                  <a:cubicBezTo>
                    <a:pt x="376691" y="333785"/>
                    <a:pt x="394375" y="340022"/>
                    <a:pt x="365808" y="332880"/>
                  </a:cubicBezTo>
                  <a:cubicBezTo>
                    <a:pt x="373754" y="305069"/>
                    <a:pt x="386313" y="274299"/>
                    <a:pt x="365808" y="245250"/>
                  </a:cubicBezTo>
                  <a:cubicBezTo>
                    <a:pt x="358448" y="234823"/>
                    <a:pt x="340408" y="242710"/>
                    <a:pt x="327708" y="241440"/>
                  </a:cubicBezTo>
                  <a:cubicBezTo>
                    <a:pt x="298978" y="231863"/>
                    <a:pt x="334391" y="244782"/>
                    <a:pt x="304848" y="230010"/>
                  </a:cubicBezTo>
                  <a:cubicBezTo>
                    <a:pt x="301256" y="228214"/>
                    <a:pt x="297109" y="227782"/>
                    <a:pt x="293418" y="226200"/>
                  </a:cubicBezTo>
                  <a:cubicBezTo>
                    <a:pt x="288198" y="223963"/>
                    <a:pt x="283258" y="221120"/>
                    <a:pt x="278178" y="218580"/>
                  </a:cubicBezTo>
                  <a:cubicBezTo>
                    <a:pt x="275638" y="214770"/>
                    <a:pt x="272606" y="211246"/>
                    <a:pt x="270558" y="207150"/>
                  </a:cubicBezTo>
                  <a:cubicBezTo>
                    <a:pt x="267499" y="201033"/>
                    <a:pt x="266563" y="193900"/>
                    <a:pt x="262938" y="188100"/>
                  </a:cubicBezTo>
                  <a:cubicBezTo>
                    <a:pt x="260082" y="183531"/>
                    <a:pt x="255318" y="180480"/>
                    <a:pt x="251508" y="176670"/>
                  </a:cubicBezTo>
                  <a:cubicBezTo>
                    <a:pt x="249873" y="165222"/>
                    <a:pt x="247231" y="143207"/>
                    <a:pt x="243888" y="130950"/>
                  </a:cubicBezTo>
                  <a:cubicBezTo>
                    <a:pt x="241775" y="123201"/>
                    <a:pt x="241087" y="114516"/>
                    <a:pt x="236268" y="108090"/>
                  </a:cubicBezTo>
                  <a:lnTo>
                    <a:pt x="224838" y="92850"/>
                  </a:lnTo>
                  <a:cubicBezTo>
                    <a:pt x="223568" y="86500"/>
                    <a:pt x="223433" y="79813"/>
                    <a:pt x="221028" y="73800"/>
                  </a:cubicBezTo>
                  <a:cubicBezTo>
                    <a:pt x="218278" y="66924"/>
                    <a:pt x="214287" y="60481"/>
                    <a:pt x="209598" y="54750"/>
                  </a:cubicBezTo>
                  <a:cubicBezTo>
                    <a:pt x="200337" y="43431"/>
                    <a:pt x="178644" y="22557"/>
                    <a:pt x="163878" y="16650"/>
                  </a:cubicBezTo>
                  <a:cubicBezTo>
                    <a:pt x="157528" y="14110"/>
                    <a:pt x="150945" y="12089"/>
                    <a:pt x="144828" y="9030"/>
                  </a:cubicBezTo>
                  <a:cubicBezTo>
                    <a:pt x="140732" y="6982"/>
                    <a:pt x="137607" y="3214"/>
                    <a:pt x="133398" y="1410"/>
                  </a:cubicBezTo>
                  <a:cubicBezTo>
                    <a:pt x="123789" y="-2708"/>
                    <a:pt x="111173" y="3315"/>
                    <a:pt x="102918" y="5220"/>
                  </a:cubicBezTo>
                  <a:close/>
                </a:path>
              </a:pathLst>
            </a:custGeom>
            <a:grpFill/>
            <a:ln w="9525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1" name="Иркутская обл.">
              <a:extLst>
                <a:ext uri="{FF2B5EF4-FFF2-40B4-BE49-F238E27FC236}">
                  <a16:creationId xmlns:a16="http://schemas.microsoft.com/office/drawing/2014/main" id="{1EE16ABB-F963-26FF-ACB6-ECC202232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248" y="4156433"/>
              <a:ext cx="1826164" cy="1826432"/>
            </a:xfrm>
            <a:custGeom>
              <a:avLst/>
              <a:gdLst>
                <a:gd name="T0" fmla="*/ 130 w 343"/>
                <a:gd name="T1" fmla="*/ 6 h 385"/>
                <a:gd name="T2" fmla="*/ 122 w 343"/>
                <a:gd name="T3" fmla="*/ 28 h 385"/>
                <a:gd name="T4" fmla="*/ 130 w 343"/>
                <a:gd name="T5" fmla="*/ 52 h 385"/>
                <a:gd name="T6" fmla="*/ 125 w 343"/>
                <a:gd name="T7" fmla="*/ 69 h 385"/>
                <a:gd name="T8" fmla="*/ 112 w 343"/>
                <a:gd name="T9" fmla="*/ 91 h 385"/>
                <a:gd name="T10" fmla="*/ 121 w 343"/>
                <a:gd name="T11" fmla="*/ 120 h 385"/>
                <a:gd name="T12" fmla="*/ 126 w 343"/>
                <a:gd name="T13" fmla="*/ 134 h 385"/>
                <a:gd name="T14" fmla="*/ 135 w 343"/>
                <a:gd name="T15" fmla="*/ 155 h 385"/>
                <a:gd name="T16" fmla="*/ 117 w 343"/>
                <a:gd name="T17" fmla="*/ 166 h 385"/>
                <a:gd name="T18" fmla="*/ 101 w 343"/>
                <a:gd name="T19" fmla="*/ 156 h 385"/>
                <a:gd name="T20" fmla="*/ 93 w 343"/>
                <a:gd name="T21" fmla="*/ 172 h 385"/>
                <a:gd name="T22" fmla="*/ 76 w 343"/>
                <a:gd name="T23" fmla="*/ 211 h 385"/>
                <a:gd name="T24" fmla="*/ 61 w 343"/>
                <a:gd name="T25" fmla="*/ 202 h 385"/>
                <a:gd name="T26" fmla="*/ 47 w 343"/>
                <a:gd name="T27" fmla="*/ 209 h 385"/>
                <a:gd name="T28" fmla="*/ 28 w 343"/>
                <a:gd name="T29" fmla="*/ 221 h 385"/>
                <a:gd name="T30" fmla="*/ 30 w 343"/>
                <a:gd name="T31" fmla="*/ 240 h 385"/>
                <a:gd name="T32" fmla="*/ 21 w 343"/>
                <a:gd name="T33" fmla="*/ 260 h 385"/>
                <a:gd name="T34" fmla="*/ 19 w 343"/>
                <a:gd name="T35" fmla="*/ 279 h 385"/>
                <a:gd name="T36" fmla="*/ 16 w 343"/>
                <a:gd name="T37" fmla="*/ 301 h 385"/>
                <a:gd name="T38" fmla="*/ 4 w 343"/>
                <a:gd name="T39" fmla="*/ 310 h 385"/>
                <a:gd name="T40" fmla="*/ 21 w 343"/>
                <a:gd name="T41" fmla="*/ 331 h 385"/>
                <a:gd name="T42" fmla="*/ 50 w 343"/>
                <a:gd name="T43" fmla="*/ 343 h 385"/>
                <a:gd name="T44" fmla="*/ 81 w 343"/>
                <a:gd name="T45" fmla="*/ 335 h 385"/>
                <a:gd name="T46" fmla="*/ 94 w 343"/>
                <a:gd name="T47" fmla="*/ 348 h 385"/>
                <a:gd name="T48" fmla="*/ 125 w 343"/>
                <a:gd name="T49" fmla="*/ 359 h 385"/>
                <a:gd name="T50" fmla="*/ 146 w 343"/>
                <a:gd name="T51" fmla="*/ 378 h 385"/>
                <a:gd name="T52" fmla="*/ 165 w 343"/>
                <a:gd name="T53" fmla="*/ 380 h 385"/>
                <a:gd name="T54" fmla="*/ 188 w 343"/>
                <a:gd name="T55" fmla="*/ 351 h 385"/>
                <a:gd name="T56" fmla="*/ 219 w 343"/>
                <a:gd name="T57" fmla="*/ 286 h 385"/>
                <a:gd name="T58" fmla="*/ 210 w 343"/>
                <a:gd name="T59" fmla="*/ 235 h 385"/>
                <a:gd name="T60" fmla="*/ 204 w 343"/>
                <a:gd name="T61" fmla="*/ 208 h 385"/>
                <a:gd name="T62" fmla="*/ 220 w 343"/>
                <a:gd name="T63" fmla="*/ 196 h 385"/>
                <a:gd name="T64" fmla="*/ 240 w 343"/>
                <a:gd name="T65" fmla="*/ 194 h 385"/>
                <a:gd name="T66" fmla="*/ 246 w 343"/>
                <a:gd name="T67" fmla="*/ 189 h 385"/>
                <a:gd name="T68" fmla="*/ 264 w 343"/>
                <a:gd name="T69" fmla="*/ 189 h 385"/>
                <a:gd name="T70" fmla="*/ 284 w 343"/>
                <a:gd name="T71" fmla="*/ 188 h 385"/>
                <a:gd name="T72" fmla="*/ 294 w 343"/>
                <a:gd name="T73" fmla="*/ 170 h 385"/>
                <a:gd name="T74" fmla="*/ 315 w 343"/>
                <a:gd name="T75" fmla="*/ 161 h 385"/>
                <a:gd name="T76" fmla="*/ 319 w 343"/>
                <a:gd name="T77" fmla="*/ 165 h 385"/>
                <a:gd name="T78" fmla="*/ 337 w 343"/>
                <a:gd name="T79" fmla="*/ 152 h 385"/>
                <a:gd name="T80" fmla="*/ 318 w 343"/>
                <a:gd name="T81" fmla="*/ 136 h 385"/>
                <a:gd name="T82" fmla="*/ 320 w 343"/>
                <a:gd name="T83" fmla="*/ 126 h 385"/>
                <a:gd name="T84" fmla="*/ 331 w 343"/>
                <a:gd name="T85" fmla="*/ 116 h 385"/>
                <a:gd name="T86" fmla="*/ 343 w 343"/>
                <a:gd name="T87" fmla="*/ 109 h 385"/>
                <a:gd name="T88" fmla="*/ 326 w 343"/>
                <a:gd name="T89" fmla="*/ 93 h 385"/>
                <a:gd name="T90" fmla="*/ 312 w 343"/>
                <a:gd name="T91" fmla="*/ 81 h 385"/>
                <a:gd name="T92" fmla="*/ 298 w 343"/>
                <a:gd name="T93" fmla="*/ 82 h 385"/>
                <a:gd name="T94" fmla="*/ 282 w 343"/>
                <a:gd name="T95" fmla="*/ 70 h 385"/>
                <a:gd name="T96" fmla="*/ 260 w 343"/>
                <a:gd name="T97" fmla="*/ 82 h 385"/>
                <a:gd name="T98" fmla="*/ 255 w 343"/>
                <a:gd name="T99" fmla="*/ 98 h 385"/>
                <a:gd name="T100" fmla="*/ 242 w 343"/>
                <a:gd name="T101" fmla="*/ 123 h 385"/>
                <a:gd name="T102" fmla="*/ 237 w 343"/>
                <a:gd name="T103" fmla="*/ 120 h 385"/>
                <a:gd name="T104" fmla="*/ 224 w 343"/>
                <a:gd name="T105" fmla="*/ 124 h 385"/>
                <a:gd name="T106" fmla="*/ 199 w 343"/>
                <a:gd name="T107" fmla="*/ 139 h 385"/>
                <a:gd name="T108" fmla="*/ 191 w 343"/>
                <a:gd name="T109" fmla="*/ 91 h 385"/>
                <a:gd name="T110" fmla="*/ 181 w 343"/>
                <a:gd name="T111" fmla="*/ 68 h 385"/>
                <a:gd name="T112" fmla="*/ 175 w 343"/>
                <a:gd name="T113" fmla="*/ 56 h 385"/>
                <a:gd name="T114" fmla="*/ 173 w 343"/>
                <a:gd name="T115" fmla="*/ 44 h 385"/>
                <a:gd name="T116" fmla="*/ 163 w 343"/>
                <a:gd name="T117" fmla="*/ 28 h 385"/>
                <a:gd name="T118" fmla="*/ 144 w 343"/>
                <a:gd name="T119" fmla="*/ 16 h 385"/>
                <a:gd name="T120" fmla="*/ 143 w 343"/>
                <a:gd name="T12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85">
                  <a:moveTo>
                    <a:pt x="143" y="0"/>
                  </a:moveTo>
                  <a:cubicBezTo>
                    <a:pt x="136" y="5"/>
                    <a:pt x="136" y="5"/>
                    <a:pt x="136" y="5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6" y="134"/>
                    <a:pt x="126" y="134"/>
                    <a:pt x="126" y="134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77" y="191"/>
                    <a:pt x="77" y="191"/>
                    <a:pt x="77" y="191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6" y="211"/>
                    <a:pt x="76" y="211"/>
                    <a:pt x="76" y="211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47" y="209"/>
                    <a:pt x="47" y="209"/>
                    <a:pt x="47" y="209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28" y="221"/>
                    <a:pt x="28" y="221"/>
                    <a:pt x="28" y="221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4" y="232"/>
                    <a:pt x="24" y="232"/>
                    <a:pt x="24" y="232"/>
                  </a:cubicBezTo>
                  <a:cubicBezTo>
                    <a:pt x="30" y="240"/>
                    <a:pt x="30" y="240"/>
                    <a:pt x="30" y="24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26" y="256"/>
                    <a:pt x="26" y="256"/>
                    <a:pt x="26" y="256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6" y="261"/>
                    <a:pt x="16" y="261"/>
                    <a:pt x="16" y="261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19" y="279"/>
                    <a:pt x="19" y="279"/>
                    <a:pt x="19" y="279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8" y="297"/>
                    <a:pt x="18" y="297"/>
                    <a:pt x="18" y="297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6"/>
                    <a:pt x="16" y="306"/>
                    <a:pt x="16" y="306"/>
                  </a:cubicBezTo>
                  <a:cubicBezTo>
                    <a:pt x="9" y="307"/>
                    <a:pt x="9" y="307"/>
                    <a:pt x="9" y="307"/>
                  </a:cubicBezTo>
                  <a:cubicBezTo>
                    <a:pt x="4" y="310"/>
                    <a:pt x="4" y="310"/>
                    <a:pt x="4" y="310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2" y="321"/>
                    <a:pt x="2" y="321"/>
                    <a:pt x="2" y="32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30" y="333"/>
                    <a:pt x="30" y="333"/>
                    <a:pt x="30" y="333"/>
                  </a:cubicBezTo>
                  <a:cubicBezTo>
                    <a:pt x="41" y="336"/>
                    <a:pt x="41" y="336"/>
                    <a:pt x="41" y="336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7" y="348"/>
                    <a:pt x="67" y="348"/>
                    <a:pt x="67" y="348"/>
                  </a:cubicBezTo>
                  <a:cubicBezTo>
                    <a:pt x="81" y="335"/>
                    <a:pt x="81" y="335"/>
                    <a:pt x="81" y="335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86" y="342"/>
                    <a:pt x="86" y="342"/>
                    <a:pt x="86" y="342"/>
                  </a:cubicBezTo>
                  <a:cubicBezTo>
                    <a:pt x="94" y="348"/>
                    <a:pt x="94" y="348"/>
                    <a:pt x="94" y="348"/>
                  </a:cubicBezTo>
                  <a:cubicBezTo>
                    <a:pt x="103" y="349"/>
                    <a:pt x="103" y="349"/>
                    <a:pt x="103" y="349"/>
                  </a:cubicBezTo>
                  <a:cubicBezTo>
                    <a:pt x="118" y="361"/>
                    <a:pt x="118" y="361"/>
                    <a:pt x="118" y="361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5" y="368"/>
                    <a:pt x="135" y="368"/>
                    <a:pt x="135" y="368"/>
                  </a:cubicBezTo>
                  <a:cubicBezTo>
                    <a:pt x="143" y="367"/>
                    <a:pt x="143" y="367"/>
                    <a:pt x="143" y="367"/>
                  </a:cubicBezTo>
                  <a:cubicBezTo>
                    <a:pt x="146" y="378"/>
                    <a:pt x="146" y="378"/>
                    <a:pt x="146" y="378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60" y="385"/>
                    <a:pt x="160" y="385"/>
                    <a:pt x="160" y="385"/>
                  </a:cubicBezTo>
                  <a:cubicBezTo>
                    <a:pt x="165" y="380"/>
                    <a:pt x="165" y="380"/>
                    <a:pt x="165" y="380"/>
                  </a:cubicBezTo>
                  <a:cubicBezTo>
                    <a:pt x="170" y="380"/>
                    <a:pt x="170" y="380"/>
                    <a:pt x="170" y="380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88" y="351"/>
                    <a:pt x="188" y="351"/>
                    <a:pt x="188" y="351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17" y="313"/>
                    <a:pt x="217" y="313"/>
                    <a:pt x="217" y="313"/>
                  </a:cubicBezTo>
                  <a:cubicBezTo>
                    <a:pt x="219" y="286"/>
                    <a:pt x="219" y="286"/>
                    <a:pt x="219" y="286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15" y="267"/>
                    <a:pt x="215" y="267"/>
                    <a:pt x="215" y="267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6" y="226"/>
                    <a:pt x="216" y="226"/>
                    <a:pt x="216" y="226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4" y="208"/>
                    <a:pt x="204" y="208"/>
                    <a:pt x="204" y="208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196"/>
                    <a:pt x="220" y="196"/>
                    <a:pt x="220" y="196"/>
                  </a:cubicBezTo>
                  <a:cubicBezTo>
                    <a:pt x="224" y="195"/>
                    <a:pt x="224" y="195"/>
                    <a:pt x="224" y="195"/>
                  </a:cubicBezTo>
                  <a:cubicBezTo>
                    <a:pt x="232" y="197"/>
                    <a:pt x="232" y="197"/>
                    <a:pt x="232" y="197"/>
                  </a:cubicBezTo>
                  <a:cubicBezTo>
                    <a:pt x="240" y="194"/>
                    <a:pt x="240" y="194"/>
                    <a:pt x="240" y="194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4" y="182"/>
                    <a:pt x="244" y="182"/>
                    <a:pt x="244" y="182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61" y="184"/>
                    <a:pt x="261" y="184"/>
                    <a:pt x="261" y="184"/>
                  </a:cubicBezTo>
                  <a:cubicBezTo>
                    <a:pt x="264" y="189"/>
                    <a:pt x="264" y="189"/>
                    <a:pt x="264" y="189"/>
                  </a:cubicBezTo>
                  <a:cubicBezTo>
                    <a:pt x="274" y="189"/>
                    <a:pt x="274" y="189"/>
                    <a:pt x="274" y="189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4" y="170"/>
                    <a:pt x="294" y="170"/>
                    <a:pt x="294" y="170"/>
                  </a:cubicBezTo>
                  <a:cubicBezTo>
                    <a:pt x="302" y="163"/>
                    <a:pt x="302" y="163"/>
                    <a:pt x="302" y="163"/>
                  </a:cubicBezTo>
                  <a:cubicBezTo>
                    <a:pt x="307" y="157"/>
                    <a:pt x="307" y="157"/>
                    <a:pt x="307" y="157"/>
                  </a:cubicBezTo>
                  <a:cubicBezTo>
                    <a:pt x="315" y="161"/>
                    <a:pt x="315" y="161"/>
                    <a:pt x="315" y="161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2" y="168"/>
                    <a:pt x="312" y="168"/>
                    <a:pt x="312" y="168"/>
                  </a:cubicBezTo>
                  <a:cubicBezTo>
                    <a:pt x="319" y="165"/>
                    <a:pt x="319" y="165"/>
                    <a:pt x="319" y="165"/>
                  </a:cubicBezTo>
                  <a:cubicBezTo>
                    <a:pt x="326" y="168"/>
                    <a:pt x="326" y="168"/>
                    <a:pt x="326" y="168"/>
                  </a:cubicBezTo>
                  <a:cubicBezTo>
                    <a:pt x="335" y="156"/>
                    <a:pt x="335" y="156"/>
                    <a:pt x="335" y="156"/>
                  </a:cubicBezTo>
                  <a:cubicBezTo>
                    <a:pt x="337" y="152"/>
                    <a:pt x="337" y="152"/>
                    <a:pt x="337" y="152"/>
                  </a:cubicBezTo>
                  <a:cubicBezTo>
                    <a:pt x="334" y="146"/>
                    <a:pt x="334" y="146"/>
                    <a:pt x="334" y="146"/>
                  </a:cubicBezTo>
                  <a:cubicBezTo>
                    <a:pt x="328" y="149"/>
                    <a:pt x="328" y="149"/>
                    <a:pt x="328" y="149"/>
                  </a:cubicBezTo>
                  <a:cubicBezTo>
                    <a:pt x="318" y="136"/>
                    <a:pt x="318" y="136"/>
                    <a:pt x="318" y="136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17" y="128"/>
                    <a:pt x="317" y="128"/>
                    <a:pt x="317" y="128"/>
                  </a:cubicBezTo>
                  <a:cubicBezTo>
                    <a:pt x="320" y="126"/>
                    <a:pt x="320" y="126"/>
                    <a:pt x="320" y="126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26" y="113"/>
                    <a:pt x="326" y="113"/>
                    <a:pt x="326" y="113"/>
                  </a:cubicBezTo>
                  <a:cubicBezTo>
                    <a:pt x="331" y="116"/>
                    <a:pt x="331" y="116"/>
                    <a:pt x="331" y="116"/>
                  </a:cubicBezTo>
                  <a:cubicBezTo>
                    <a:pt x="336" y="117"/>
                    <a:pt x="336" y="117"/>
                    <a:pt x="336" y="117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3" y="109"/>
                    <a:pt x="343" y="109"/>
                    <a:pt x="343" y="109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0" y="93"/>
                    <a:pt x="330" y="93"/>
                    <a:pt x="330" y="93"/>
                  </a:cubicBezTo>
                  <a:cubicBezTo>
                    <a:pt x="326" y="93"/>
                    <a:pt x="326" y="93"/>
                    <a:pt x="326" y="93"/>
                  </a:cubicBezTo>
                  <a:cubicBezTo>
                    <a:pt x="326" y="87"/>
                    <a:pt x="326" y="87"/>
                    <a:pt x="326" y="87"/>
                  </a:cubicBezTo>
                  <a:cubicBezTo>
                    <a:pt x="316" y="77"/>
                    <a:pt x="316" y="77"/>
                    <a:pt x="316" y="77"/>
                  </a:cubicBezTo>
                  <a:cubicBezTo>
                    <a:pt x="312" y="81"/>
                    <a:pt x="312" y="81"/>
                    <a:pt x="312" y="81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03" y="88"/>
                    <a:pt x="303" y="88"/>
                    <a:pt x="303" y="88"/>
                  </a:cubicBezTo>
                  <a:cubicBezTo>
                    <a:pt x="298" y="82"/>
                    <a:pt x="298" y="82"/>
                    <a:pt x="298" y="82"/>
                  </a:cubicBezTo>
                  <a:cubicBezTo>
                    <a:pt x="297" y="76"/>
                    <a:pt x="297" y="76"/>
                    <a:pt x="297" y="76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3"/>
                    <a:pt x="282" y="70"/>
                    <a:pt x="282" y="70"/>
                  </a:cubicBezTo>
                  <a:cubicBezTo>
                    <a:pt x="281" y="70"/>
                    <a:pt x="267" y="70"/>
                    <a:pt x="267" y="70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5" y="98"/>
                    <a:pt x="255" y="98"/>
                    <a:pt x="255" y="98"/>
                  </a:cubicBezTo>
                  <a:cubicBezTo>
                    <a:pt x="250" y="106"/>
                    <a:pt x="250" y="106"/>
                    <a:pt x="250" y="106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2" y="123"/>
                    <a:pt x="242" y="123"/>
                    <a:pt x="242" y="123"/>
                  </a:cubicBezTo>
                  <a:cubicBezTo>
                    <a:pt x="242" y="131"/>
                    <a:pt x="242" y="131"/>
                    <a:pt x="242" y="131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0"/>
                    <a:pt x="237" y="120"/>
                    <a:pt x="237" y="120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24"/>
                    <a:pt x="224" y="124"/>
                    <a:pt x="224" y="124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07" y="138"/>
                    <a:pt x="207" y="138"/>
                    <a:pt x="207" y="138"/>
                  </a:cubicBezTo>
                  <a:cubicBezTo>
                    <a:pt x="199" y="139"/>
                    <a:pt x="199" y="139"/>
                    <a:pt x="199" y="13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82" y="73"/>
                    <a:pt x="182" y="73"/>
                    <a:pt x="182" y="73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8" y="63"/>
                    <a:pt x="178" y="63"/>
                    <a:pt x="178" y="63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47"/>
                    <a:pt x="178" y="47"/>
                    <a:pt x="178" y="47"/>
                  </a:cubicBezTo>
                  <a:cubicBezTo>
                    <a:pt x="173" y="44"/>
                    <a:pt x="173" y="44"/>
                    <a:pt x="173" y="44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8" y="6"/>
                    <a:pt x="148" y="6"/>
                    <a:pt x="148" y="6"/>
                  </a:cubicBezTo>
                  <a:lnTo>
                    <a:pt x="14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2" name="Ивановская обл.">
              <a:extLst>
                <a:ext uri="{FF2B5EF4-FFF2-40B4-BE49-F238E27FC236}">
                  <a16:creationId xmlns:a16="http://schemas.microsoft.com/office/drawing/2014/main" id="{F430E498-4EF0-4A11-36B2-4A3755789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616" y="3971967"/>
              <a:ext cx="344800" cy="268726"/>
            </a:xfrm>
            <a:custGeom>
              <a:avLst/>
              <a:gdLst>
                <a:gd name="T0" fmla="*/ 133 w 135"/>
                <a:gd name="T1" fmla="*/ 77 h 118"/>
                <a:gd name="T2" fmla="*/ 116 w 135"/>
                <a:gd name="T3" fmla="*/ 77 h 118"/>
                <a:gd name="T4" fmla="*/ 116 w 135"/>
                <a:gd name="T5" fmla="*/ 89 h 118"/>
                <a:gd name="T6" fmla="*/ 100 w 135"/>
                <a:gd name="T7" fmla="*/ 89 h 118"/>
                <a:gd name="T8" fmla="*/ 89 w 135"/>
                <a:gd name="T9" fmla="*/ 79 h 118"/>
                <a:gd name="T10" fmla="*/ 81 w 135"/>
                <a:gd name="T11" fmla="*/ 87 h 118"/>
                <a:gd name="T12" fmla="*/ 77 w 135"/>
                <a:gd name="T13" fmla="*/ 102 h 118"/>
                <a:gd name="T14" fmla="*/ 66 w 135"/>
                <a:gd name="T15" fmla="*/ 112 h 118"/>
                <a:gd name="T16" fmla="*/ 50 w 135"/>
                <a:gd name="T17" fmla="*/ 114 h 118"/>
                <a:gd name="T18" fmla="*/ 37 w 135"/>
                <a:gd name="T19" fmla="*/ 118 h 118"/>
                <a:gd name="T20" fmla="*/ 41 w 135"/>
                <a:gd name="T21" fmla="*/ 116 h 118"/>
                <a:gd name="T22" fmla="*/ 48 w 135"/>
                <a:gd name="T23" fmla="*/ 75 h 118"/>
                <a:gd name="T24" fmla="*/ 21 w 135"/>
                <a:gd name="T25" fmla="*/ 46 h 118"/>
                <a:gd name="T26" fmla="*/ 4 w 135"/>
                <a:gd name="T27" fmla="*/ 41 h 118"/>
                <a:gd name="T28" fmla="*/ 4 w 135"/>
                <a:gd name="T29" fmla="*/ 31 h 118"/>
                <a:gd name="T30" fmla="*/ 8 w 135"/>
                <a:gd name="T31" fmla="*/ 16 h 118"/>
                <a:gd name="T32" fmla="*/ 0 w 135"/>
                <a:gd name="T33" fmla="*/ 8 h 118"/>
                <a:gd name="T34" fmla="*/ 10 w 135"/>
                <a:gd name="T35" fmla="*/ 0 h 118"/>
                <a:gd name="T36" fmla="*/ 31 w 135"/>
                <a:gd name="T37" fmla="*/ 0 h 118"/>
                <a:gd name="T38" fmla="*/ 35 w 135"/>
                <a:gd name="T39" fmla="*/ 6 h 118"/>
                <a:gd name="T40" fmla="*/ 50 w 135"/>
                <a:gd name="T41" fmla="*/ 8 h 118"/>
                <a:gd name="T42" fmla="*/ 50 w 135"/>
                <a:gd name="T43" fmla="*/ 4 h 118"/>
                <a:gd name="T44" fmla="*/ 58 w 135"/>
                <a:gd name="T45" fmla="*/ 18 h 118"/>
                <a:gd name="T46" fmla="*/ 69 w 135"/>
                <a:gd name="T47" fmla="*/ 18 h 118"/>
                <a:gd name="T48" fmla="*/ 77 w 135"/>
                <a:gd name="T49" fmla="*/ 23 h 118"/>
                <a:gd name="T50" fmla="*/ 85 w 135"/>
                <a:gd name="T51" fmla="*/ 14 h 118"/>
                <a:gd name="T52" fmla="*/ 91 w 135"/>
                <a:gd name="T53" fmla="*/ 14 h 118"/>
                <a:gd name="T54" fmla="*/ 94 w 135"/>
                <a:gd name="T55" fmla="*/ 25 h 118"/>
                <a:gd name="T56" fmla="*/ 108 w 135"/>
                <a:gd name="T57" fmla="*/ 37 h 118"/>
                <a:gd name="T58" fmla="*/ 123 w 135"/>
                <a:gd name="T59" fmla="*/ 37 h 118"/>
                <a:gd name="T60" fmla="*/ 119 w 135"/>
                <a:gd name="T61" fmla="*/ 52 h 118"/>
                <a:gd name="T62" fmla="*/ 135 w 135"/>
                <a:gd name="T63" fmla="*/ 62 h 118"/>
                <a:gd name="T64" fmla="*/ 133 w 135"/>
                <a:gd name="T65" fmla="*/ 7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118">
                  <a:moveTo>
                    <a:pt x="133" y="77"/>
                  </a:moveTo>
                  <a:lnTo>
                    <a:pt x="116" y="77"/>
                  </a:lnTo>
                  <a:lnTo>
                    <a:pt x="116" y="89"/>
                  </a:lnTo>
                  <a:lnTo>
                    <a:pt x="100" y="89"/>
                  </a:lnTo>
                  <a:lnTo>
                    <a:pt x="89" y="79"/>
                  </a:lnTo>
                  <a:lnTo>
                    <a:pt x="81" y="87"/>
                  </a:lnTo>
                  <a:lnTo>
                    <a:pt x="77" y="102"/>
                  </a:lnTo>
                  <a:lnTo>
                    <a:pt x="66" y="112"/>
                  </a:lnTo>
                  <a:lnTo>
                    <a:pt x="50" y="114"/>
                  </a:lnTo>
                  <a:lnTo>
                    <a:pt x="37" y="118"/>
                  </a:lnTo>
                  <a:lnTo>
                    <a:pt x="41" y="116"/>
                  </a:lnTo>
                  <a:lnTo>
                    <a:pt x="48" y="75"/>
                  </a:lnTo>
                  <a:lnTo>
                    <a:pt x="21" y="46"/>
                  </a:lnTo>
                  <a:lnTo>
                    <a:pt x="4" y="41"/>
                  </a:lnTo>
                  <a:lnTo>
                    <a:pt x="4" y="31"/>
                  </a:lnTo>
                  <a:lnTo>
                    <a:pt x="8" y="16"/>
                  </a:lnTo>
                  <a:lnTo>
                    <a:pt x="0" y="8"/>
                  </a:lnTo>
                  <a:lnTo>
                    <a:pt x="10" y="0"/>
                  </a:lnTo>
                  <a:lnTo>
                    <a:pt x="31" y="0"/>
                  </a:lnTo>
                  <a:lnTo>
                    <a:pt x="35" y="6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8" y="18"/>
                  </a:lnTo>
                  <a:lnTo>
                    <a:pt x="69" y="18"/>
                  </a:lnTo>
                  <a:lnTo>
                    <a:pt x="77" y="23"/>
                  </a:lnTo>
                  <a:lnTo>
                    <a:pt x="85" y="14"/>
                  </a:lnTo>
                  <a:lnTo>
                    <a:pt x="91" y="14"/>
                  </a:lnTo>
                  <a:lnTo>
                    <a:pt x="94" y="25"/>
                  </a:lnTo>
                  <a:lnTo>
                    <a:pt x="108" y="37"/>
                  </a:lnTo>
                  <a:lnTo>
                    <a:pt x="123" y="37"/>
                  </a:lnTo>
                  <a:lnTo>
                    <a:pt x="119" y="52"/>
                  </a:lnTo>
                  <a:lnTo>
                    <a:pt x="135" y="62"/>
                  </a:lnTo>
                  <a:lnTo>
                    <a:pt x="133" y="7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3" name="Воронежская обл.">
              <a:extLst>
                <a:ext uri="{FF2B5EF4-FFF2-40B4-BE49-F238E27FC236}">
                  <a16:creationId xmlns:a16="http://schemas.microsoft.com/office/drawing/2014/main" id="{DDDBEABD-65C2-8DBD-8FB2-E10EAF86B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043" y="4441101"/>
              <a:ext cx="431639" cy="384871"/>
            </a:xfrm>
            <a:custGeom>
              <a:avLst/>
              <a:gdLst>
                <a:gd name="T0" fmla="*/ 7 w 81"/>
                <a:gd name="T1" fmla="*/ 72 h 81"/>
                <a:gd name="T2" fmla="*/ 4 w 81"/>
                <a:gd name="T3" fmla="*/ 65 h 81"/>
                <a:gd name="T4" fmla="*/ 0 w 81"/>
                <a:gd name="T5" fmla="*/ 55 h 81"/>
                <a:gd name="T6" fmla="*/ 0 w 81"/>
                <a:gd name="T7" fmla="*/ 55 h 81"/>
                <a:gd name="T8" fmla="*/ 4 w 81"/>
                <a:gd name="T9" fmla="*/ 52 h 81"/>
                <a:gd name="T10" fmla="*/ 4 w 81"/>
                <a:gd name="T11" fmla="*/ 48 h 81"/>
                <a:gd name="T12" fmla="*/ 6 w 81"/>
                <a:gd name="T13" fmla="*/ 47 h 81"/>
                <a:gd name="T14" fmla="*/ 6 w 81"/>
                <a:gd name="T15" fmla="*/ 43 h 81"/>
                <a:gd name="T16" fmla="*/ 11 w 81"/>
                <a:gd name="T17" fmla="*/ 40 h 81"/>
                <a:gd name="T18" fmla="*/ 10 w 81"/>
                <a:gd name="T19" fmla="*/ 29 h 81"/>
                <a:gd name="T20" fmla="*/ 16 w 81"/>
                <a:gd name="T21" fmla="*/ 26 h 81"/>
                <a:gd name="T22" fmla="*/ 13 w 81"/>
                <a:gd name="T23" fmla="*/ 21 h 81"/>
                <a:gd name="T24" fmla="*/ 14 w 81"/>
                <a:gd name="T25" fmla="*/ 16 h 81"/>
                <a:gd name="T26" fmla="*/ 15 w 81"/>
                <a:gd name="T27" fmla="*/ 10 h 81"/>
                <a:gd name="T28" fmla="*/ 17 w 81"/>
                <a:gd name="T29" fmla="*/ 10 h 81"/>
                <a:gd name="T30" fmla="*/ 18 w 81"/>
                <a:gd name="T31" fmla="*/ 4 h 81"/>
                <a:gd name="T32" fmla="*/ 21 w 81"/>
                <a:gd name="T33" fmla="*/ 2 h 81"/>
                <a:gd name="T34" fmla="*/ 25 w 81"/>
                <a:gd name="T35" fmla="*/ 3 h 81"/>
                <a:gd name="T36" fmla="*/ 29 w 81"/>
                <a:gd name="T37" fmla="*/ 1 h 81"/>
                <a:gd name="T38" fmla="*/ 35 w 81"/>
                <a:gd name="T39" fmla="*/ 0 h 81"/>
                <a:gd name="T40" fmla="*/ 38 w 81"/>
                <a:gd name="T41" fmla="*/ 6 h 81"/>
                <a:gd name="T42" fmla="*/ 45 w 81"/>
                <a:gd name="T43" fmla="*/ 8 h 81"/>
                <a:gd name="T44" fmla="*/ 44 w 81"/>
                <a:gd name="T45" fmla="*/ 15 h 81"/>
                <a:gd name="T46" fmla="*/ 47 w 81"/>
                <a:gd name="T47" fmla="*/ 16 h 81"/>
                <a:gd name="T48" fmla="*/ 53 w 81"/>
                <a:gd name="T49" fmla="*/ 18 h 81"/>
                <a:gd name="T50" fmla="*/ 60 w 81"/>
                <a:gd name="T51" fmla="*/ 29 h 81"/>
                <a:gd name="T52" fmla="*/ 59 w 81"/>
                <a:gd name="T53" fmla="*/ 32 h 81"/>
                <a:gd name="T54" fmla="*/ 69 w 81"/>
                <a:gd name="T55" fmla="*/ 40 h 81"/>
                <a:gd name="T56" fmla="*/ 81 w 81"/>
                <a:gd name="T57" fmla="*/ 55 h 81"/>
                <a:gd name="T58" fmla="*/ 78 w 81"/>
                <a:gd name="T59" fmla="*/ 56 h 81"/>
                <a:gd name="T60" fmla="*/ 81 w 81"/>
                <a:gd name="T61" fmla="*/ 62 h 81"/>
                <a:gd name="T62" fmla="*/ 78 w 81"/>
                <a:gd name="T63" fmla="*/ 65 h 81"/>
                <a:gd name="T64" fmla="*/ 72 w 81"/>
                <a:gd name="T65" fmla="*/ 64 h 81"/>
                <a:gd name="T66" fmla="*/ 67 w 81"/>
                <a:gd name="T67" fmla="*/ 61 h 81"/>
                <a:gd name="T68" fmla="*/ 61 w 81"/>
                <a:gd name="T69" fmla="*/ 58 h 81"/>
                <a:gd name="T70" fmla="*/ 56 w 81"/>
                <a:gd name="T71" fmla="*/ 61 h 81"/>
                <a:gd name="T72" fmla="*/ 45 w 81"/>
                <a:gd name="T73" fmla="*/ 61 h 81"/>
                <a:gd name="T74" fmla="*/ 45 w 81"/>
                <a:gd name="T75" fmla="*/ 66 h 81"/>
                <a:gd name="T76" fmla="*/ 36 w 81"/>
                <a:gd name="T77" fmla="*/ 77 h 81"/>
                <a:gd name="T78" fmla="*/ 27 w 81"/>
                <a:gd name="T79" fmla="*/ 77 h 81"/>
                <a:gd name="T80" fmla="*/ 25 w 81"/>
                <a:gd name="T81" fmla="*/ 79 h 81"/>
                <a:gd name="T82" fmla="*/ 20 w 81"/>
                <a:gd name="T83" fmla="*/ 81 h 81"/>
                <a:gd name="T84" fmla="*/ 17 w 81"/>
                <a:gd name="T85" fmla="*/ 77 h 81"/>
                <a:gd name="T86" fmla="*/ 11 w 81"/>
                <a:gd name="T87" fmla="*/ 76 h 81"/>
                <a:gd name="T88" fmla="*/ 10 w 81"/>
                <a:gd name="T89" fmla="*/ 71 h 81"/>
                <a:gd name="T90" fmla="*/ 7 w 81"/>
                <a:gd name="T91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81">
                  <a:moveTo>
                    <a:pt x="7" y="72"/>
                  </a:moveTo>
                  <a:cubicBezTo>
                    <a:pt x="6" y="69"/>
                    <a:pt x="3" y="68"/>
                    <a:pt x="4" y="65"/>
                  </a:cubicBezTo>
                  <a:cubicBezTo>
                    <a:pt x="4" y="62"/>
                    <a:pt x="1" y="57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7" y="65"/>
                    <a:pt x="72" y="64"/>
                    <a:pt x="72" y="64"/>
                  </a:cubicBezTo>
                  <a:cubicBezTo>
                    <a:pt x="71" y="64"/>
                    <a:pt x="67" y="63"/>
                    <a:pt x="67" y="61"/>
                  </a:cubicBezTo>
                  <a:cubicBezTo>
                    <a:pt x="67" y="58"/>
                    <a:pt x="63" y="58"/>
                    <a:pt x="61" y="58"/>
                  </a:cubicBezTo>
                  <a:cubicBezTo>
                    <a:pt x="58" y="58"/>
                    <a:pt x="56" y="61"/>
                    <a:pt x="5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4"/>
                    <a:pt x="45" y="66"/>
                  </a:cubicBezTo>
                  <a:cubicBezTo>
                    <a:pt x="46" y="69"/>
                    <a:pt x="36" y="77"/>
                    <a:pt x="3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5" y="78"/>
                    <a:pt x="25" y="79"/>
                  </a:cubicBezTo>
                  <a:cubicBezTo>
                    <a:pt x="25" y="81"/>
                    <a:pt x="22" y="81"/>
                    <a:pt x="20" y="81"/>
                  </a:cubicBezTo>
                  <a:cubicBezTo>
                    <a:pt x="19" y="81"/>
                    <a:pt x="17" y="77"/>
                    <a:pt x="17" y="77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1"/>
                    <a:pt x="10" y="71"/>
                    <a:pt x="10" y="71"/>
                  </a:cubicBezTo>
                  <a:lnTo>
                    <a:pt x="7" y="7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4" name="Вологодская обл.">
              <a:extLst>
                <a:ext uri="{FF2B5EF4-FFF2-40B4-BE49-F238E27FC236}">
                  <a16:creationId xmlns:a16="http://schemas.microsoft.com/office/drawing/2014/main" id="{B9E46F00-88B9-DAF7-764E-80E4A9A42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1764" y="3359361"/>
              <a:ext cx="937346" cy="683205"/>
            </a:xfrm>
            <a:custGeom>
              <a:avLst/>
              <a:gdLst>
                <a:gd name="T0" fmla="*/ 344 w 367"/>
                <a:gd name="T1" fmla="*/ 258 h 300"/>
                <a:gd name="T2" fmla="*/ 321 w 367"/>
                <a:gd name="T3" fmla="*/ 258 h 300"/>
                <a:gd name="T4" fmla="*/ 327 w 367"/>
                <a:gd name="T5" fmla="*/ 281 h 300"/>
                <a:gd name="T6" fmla="*/ 323 w 367"/>
                <a:gd name="T7" fmla="*/ 298 h 300"/>
                <a:gd name="T8" fmla="*/ 296 w 367"/>
                <a:gd name="T9" fmla="*/ 298 h 300"/>
                <a:gd name="T10" fmla="*/ 275 w 367"/>
                <a:gd name="T11" fmla="*/ 300 h 300"/>
                <a:gd name="T12" fmla="*/ 241 w 367"/>
                <a:gd name="T13" fmla="*/ 271 h 300"/>
                <a:gd name="T14" fmla="*/ 223 w 367"/>
                <a:gd name="T15" fmla="*/ 246 h 300"/>
                <a:gd name="T16" fmla="*/ 191 w 367"/>
                <a:gd name="T17" fmla="*/ 219 h 300"/>
                <a:gd name="T18" fmla="*/ 158 w 367"/>
                <a:gd name="T19" fmla="*/ 221 h 300"/>
                <a:gd name="T20" fmla="*/ 112 w 367"/>
                <a:gd name="T21" fmla="*/ 212 h 300"/>
                <a:gd name="T22" fmla="*/ 104 w 367"/>
                <a:gd name="T23" fmla="*/ 175 h 300"/>
                <a:gd name="T24" fmla="*/ 73 w 367"/>
                <a:gd name="T25" fmla="*/ 160 h 300"/>
                <a:gd name="T26" fmla="*/ 46 w 367"/>
                <a:gd name="T27" fmla="*/ 133 h 300"/>
                <a:gd name="T28" fmla="*/ 16 w 367"/>
                <a:gd name="T29" fmla="*/ 131 h 300"/>
                <a:gd name="T30" fmla="*/ 14 w 367"/>
                <a:gd name="T31" fmla="*/ 104 h 300"/>
                <a:gd name="T32" fmla="*/ 8 w 367"/>
                <a:gd name="T33" fmla="*/ 79 h 300"/>
                <a:gd name="T34" fmla="*/ 19 w 367"/>
                <a:gd name="T35" fmla="*/ 75 h 300"/>
                <a:gd name="T36" fmla="*/ 62 w 367"/>
                <a:gd name="T37" fmla="*/ 33 h 300"/>
                <a:gd name="T38" fmla="*/ 89 w 367"/>
                <a:gd name="T39" fmla="*/ 8 h 300"/>
                <a:gd name="T40" fmla="*/ 112 w 367"/>
                <a:gd name="T41" fmla="*/ 4 h 300"/>
                <a:gd name="T42" fmla="*/ 139 w 367"/>
                <a:gd name="T43" fmla="*/ 8 h 300"/>
                <a:gd name="T44" fmla="*/ 166 w 367"/>
                <a:gd name="T45" fmla="*/ 8 h 300"/>
                <a:gd name="T46" fmla="*/ 169 w 367"/>
                <a:gd name="T47" fmla="*/ 46 h 300"/>
                <a:gd name="T48" fmla="*/ 162 w 367"/>
                <a:gd name="T49" fmla="*/ 77 h 300"/>
                <a:gd name="T50" fmla="*/ 173 w 367"/>
                <a:gd name="T51" fmla="*/ 98 h 300"/>
                <a:gd name="T52" fmla="*/ 191 w 367"/>
                <a:gd name="T53" fmla="*/ 117 h 300"/>
                <a:gd name="T54" fmla="*/ 210 w 367"/>
                <a:gd name="T55" fmla="*/ 133 h 300"/>
                <a:gd name="T56" fmla="*/ 244 w 367"/>
                <a:gd name="T57" fmla="*/ 142 h 300"/>
                <a:gd name="T58" fmla="*/ 271 w 367"/>
                <a:gd name="T59" fmla="*/ 162 h 300"/>
                <a:gd name="T60" fmla="*/ 289 w 367"/>
                <a:gd name="T61" fmla="*/ 173 h 300"/>
                <a:gd name="T62" fmla="*/ 308 w 367"/>
                <a:gd name="T63" fmla="*/ 187 h 300"/>
                <a:gd name="T64" fmla="*/ 331 w 367"/>
                <a:gd name="T65" fmla="*/ 187 h 300"/>
                <a:gd name="T66" fmla="*/ 339 w 367"/>
                <a:gd name="T67" fmla="*/ 204 h 300"/>
                <a:gd name="T68" fmla="*/ 362 w 367"/>
                <a:gd name="T69" fmla="*/ 2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300">
                  <a:moveTo>
                    <a:pt x="367" y="235"/>
                  </a:moveTo>
                  <a:lnTo>
                    <a:pt x="344" y="258"/>
                  </a:lnTo>
                  <a:lnTo>
                    <a:pt x="331" y="250"/>
                  </a:lnTo>
                  <a:lnTo>
                    <a:pt x="321" y="258"/>
                  </a:lnTo>
                  <a:lnTo>
                    <a:pt x="337" y="273"/>
                  </a:lnTo>
                  <a:lnTo>
                    <a:pt x="327" y="281"/>
                  </a:lnTo>
                  <a:lnTo>
                    <a:pt x="327" y="292"/>
                  </a:lnTo>
                  <a:lnTo>
                    <a:pt x="323" y="298"/>
                  </a:lnTo>
                  <a:lnTo>
                    <a:pt x="306" y="281"/>
                  </a:lnTo>
                  <a:lnTo>
                    <a:pt x="296" y="298"/>
                  </a:lnTo>
                  <a:lnTo>
                    <a:pt x="283" y="294"/>
                  </a:lnTo>
                  <a:lnTo>
                    <a:pt x="275" y="300"/>
                  </a:lnTo>
                  <a:lnTo>
                    <a:pt x="264" y="281"/>
                  </a:lnTo>
                  <a:lnTo>
                    <a:pt x="241" y="271"/>
                  </a:lnTo>
                  <a:lnTo>
                    <a:pt x="237" y="260"/>
                  </a:lnTo>
                  <a:lnTo>
                    <a:pt x="223" y="246"/>
                  </a:lnTo>
                  <a:lnTo>
                    <a:pt x="206" y="242"/>
                  </a:lnTo>
                  <a:lnTo>
                    <a:pt x="191" y="219"/>
                  </a:lnTo>
                  <a:lnTo>
                    <a:pt x="179" y="225"/>
                  </a:lnTo>
                  <a:lnTo>
                    <a:pt x="158" y="221"/>
                  </a:lnTo>
                  <a:lnTo>
                    <a:pt x="131" y="231"/>
                  </a:lnTo>
                  <a:lnTo>
                    <a:pt x="112" y="212"/>
                  </a:lnTo>
                  <a:lnTo>
                    <a:pt x="112" y="185"/>
                  </a:lnTo>
                  <a:lnTo>
                    <a:pt x="104" y="175"/>
                  </a:lnTo>
                  <a:lnTo>
                    <a:pt x="96" y="181"/>
                  </a:lnTo>
                  <a:lnTo>
                    <a:pt x="73" y="160"/>
                  </a:lnTo>
                  <a:lnTo>
                    <a:pt x="48" y="160"/>
                  </a:lnTo>
                  <a:lnTo>
                    <a:pt x="46" y="133"/>
                  </a:lnTo>
                  <a:lnTo>
                    <a:pt x="19" y="133"/>
                  </a:lnTo>
                  <a:lnTo>
                    <a:pt x="16" y="131"/>
                  </a:lnTo>
                  <a:lnTo>
                    <a:pt x="21" y="117"/>
                  </a:lnTo>
                  <a:lnTo>
                    <a:pt x="14" y="104"/>
                  </a:lnTo>
                  <a:lnTo>
                    <a:pt x="0" y="96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19" y="75"/>
                  </a:lnTo>
                  <a:lnTo>
                    <a:pt x="41" y="71"/>
                  </a:lnTo>
                  <a:lnTo>
                    <a:pt x="62" y="33"/>
                  </a:lnTo>
                  <a:lnTo>
                    <a:pt x="81" y="23"/>
                  </a:lnTo>
                  <a:lnTo>
                    <a:pt x="89" y="8"/>
                  </a:lnTo>
                  <a:lnTo>
                    <a:pt x="100" y="12"/>
                  </a:lnTo>
                  <a:lnTo>
                    <a:pt x="112" y="4"/>
                  </a:lnTo>
                  <a:lnTo>
                    <a:pt x="131" y="0"/>
                  </a:lnTo>
                  <a:lnTo>
                    <a:pt x="139" y="8"/>
                  </a:lnTo>
                  <a:lnTo>
                    <a:pt x="150" y="6"/>
                  </a:lnTo>
                  <a:lnTo>
                    <a:pt x="166" y="8"/>
                  </a:lnTo>
                  <a:lnTo>
                    <a:pt x="179" y="31"/>
                  </a:lnTo>
                  <a:lnTo>
                    <a:pt x="169" y="46"/>
                  </a:lnTo>
                  <a:lnTo>
                    <a:pt x="162" y="62"/>
                  </a:lnTo>
                  <a:lnTo>
                    <a:pt x="162" y="77"/>
                  </a:lnTo>
                  <a:lnTo>
                    <a:pt x="173" y="87"/>
                  </a:lnTo>
                  <a:lnTo>
                    <a:pt x="173" y="98"/>
                  </a:lnTo>
                  <a:lnTo>
                    <a:pt x="183" y="102"/>
                  </a:lnTo>
                  <a:lnTo>
                    <a:pt x="191" y="117"/>
                  </a:lnTo>
                  <a:lnTo>
                    <a:pt x="208" y="119"/>
                  </a:lnTo>
                  <a:lnTo>
                    <a:pt x="210" y="133"/>
                  </a:lnTo>
                  <a:lnTo>
                    <a:pt x="235" y="131"/>
                  </a:lnTo>
                  <a:lnTo>
                    <a:pt x="244" y="142"/>
                  </a:lnTo>
                  <a:lnTo>
                    <a:pt x="254" y="146"/>
                  </a:lnTo>
                  <a:lnTo>
                    <a:pt x="271" y="162"/>
                  </a:lnTo>
                  <a:lnTo>
                    <a:pt x="275" y="177"/>
                  </a:lnTo>
                  <a:lnTo>
                    <a:pt x="289" y="173"/>
                  </a:lnTo>
                  <a:lnTo>
                    <a:pt x="304" y="173"/>
                  </a:lnTo>
                  <a:lnTo>
                    <a:pt x="308" y="187"/>
                  </a:lnTo>
                  <a:lnTo>
                    <a:pt x="325" y="200"/>
                  </a:lnTo>
                  <a:lnTo>
                    <a:pt x="331" y="187"/>
                  </a:lnTo>
                  <a:lnTo>
                    <a:pt x="346" y="198"/>
                  </a:lnTo>
                  <a:lnTo>
                    <a:pt x="339" y="204"/>
                  </a:lnTo>
                  <a:lnTo>
                    <a:pt x="360" y="217"/>
                  </a:lnTo>
                  <a:lnTo>
                    <a:pt x="362" y="225"/>
                  </a:lnTo>
                  <a:lnTo>
                    <a:pt x="367" y="23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5" name="Волгоградская обл.">
              <a:extLst>
                <a:ext uri="{FF2B5EF4-FFF2-40B4-BE49-F238E27FC236}">
                  <a16:creationId xmlns:a16="http://schemas.microsoft.com/office/drawing/2014/main" id="{C5B50F58-B28A-53C8-05C3-07C953BF1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138" y="4716659"/>
              <a:ext cx="653844" cy="539731"/>
            </a:xfrm>
            <a:custGeom>
              <a:avLst/>
              <a:gdLst>
                <a:gd name="T0" fmla="*/ 123 w 123"/>
                <a:gd name="T1" fmla="*/ 83 h 114"/>
                <a:gd name="T2" fmla="*/ 120 w 123"/>
                <a:gd name="T3" fmla="*/ 87 h 114"/>
                <a:gd name="T4" fmla="*/ 108 w 123"/>
                <a:gd name="T5" fmla="*/ 92 h 114"/>
                <a:gd name="T6" fmla="*/ 101 w 123"/>
                <a:gd name="T7" fmla="*/ 108 h 114"/>
                <a:gd name="T8" fmla="*/ 87 w 123"/>
                <a:gd name="T9" fmla="*/ 114 h 114"/>
                <a:gd name="T10" fmla="*/ 83 w 123"/>
                <a:gd name="T11" fmla="*/ 104 h 114"/>
                <a:gd name="T12" fmla="*/ 72 w 123"/>
                <a:gd name="T13" fmla="*/ 105 h 114"/>
                <a:gd name="T14" fmla="*/ 65 w 123"/>
                <a:gd name="T15" fmla="*/ 103 h 114"/>
                <a:gd name="T16" fmla="*/ 64 w 123"/>
                <a:gd name="T17" fmla="*/ 101 h 114"/>
                <a:gd name="T18" fmla="*/ 54 w 123"/>
                <a:gd name="T19" fmla="*/ 102 h 114"/>
                <a:gd name="T20" fmla="*/ 51 w 123"/>
                <a:gd name="T21" fmla="*/ 108 h 114"/>
                <a:gd name="T22" fmla="*/ 47 w 123"/>
                <a:gd name="T23" fmla="*/ 107 h 114"/>
                <a:gd name="T24" fmla="*/ 42 w 123"/>
                <a:gd name="T25" fmla="*/ 104 h 114"/>
                <a:gd name="T26" fmla="*/ 42 w 123"/>
                <a:gd name="T27" fmla="*/ 97 h 114"/>
                <a:gd name="T28" fmla="*/ 39 w 123"/>
                <a:gd name="T29" fmla="*/ 96 h 114"/>
                <a:gd name="T30" fmla="*/ 37 w 123"/>
                <a:gd name="T31" fmla="*/ 101 h 114"/>
                <a:gd name="T32" fmla="*/ 35 w 123"/>
                <a:gd name="T33" fmla="*/ 106 h 114"/>
                <a:gd name="T34" fmla="*/ 31 w 123"/>
                <a:gd name="T35" fmla="*/ 103 h 114"/>
                <a:gd name="T36" fmla="*/ 24 w 123"/>
                <a:gd name="T37" fmla="*/ 104 h 114"/>
                <a:gd name="T38" fmla="*/ 20 w 123"/>
                <a:gd name="T39" fmla="*/ 101 h 114"/>
                <a:gd name="T40" fmla="*/ 15 w 123"/>
                <a:gd name="T41" fmla="*/ 106 h 114"/>
                <a:gd name="T42" fmla="*/ 15 w 123"/>
                <a:gd name="T43" fmla="*/ 106 h 114"/>
                <a:gd name="T44" fmla="*/ 14 w 123"/>
                <a:gd name="T45" fmla="*/ 104 h 114"/>
                <a:gd name="T46" fmla="*/ 9 w 123"/>
                <a:gd name="T47" fmla="*/ 97 h 114"/>
                <a:gd name="T48" fmla="*/ 9 w 123"/>
                <a:gd name="T49" fmla="*/ 89 h 114"/>
                <a:gd name="T50" fmla="*/ 8 w 123"/>
                <a:gd name="T51" fmla="*/ 80 h 114"/>
                <a:gd name="T52" fmla="*/ 2 w 123"/>
                <a:gd name="T53" fmla="*/ 75 h 114"/>
                <a:gd name="T54" fmla="*/ 6 w 123"/>
                <a:gd name="T55" fmla="*/ 69 h 114"/>
                <a:gd name="T56" fmla="*/ 12 w 123"/>
                <a:gd name="T57" fmla="*/ 65 h 114"/>
                <a:gd name="T58" fmla="*/ 18 w 123"/>
                <a:gd name="T59" fmla="*/ 69 h 114"/>
                <a:gd name="T60" fmla="*/ 25 w 123"/>
                <a:gd name="T61" fmla="*/ 66 h 114"/>
                <a:gd name="T62" fmla="*/ 27 w 123"/>
                <a:gd name="T63" fmla="*/ 56 h 114"/>
                <a:gd name="T64" fmla="*/ 25 w 123"/>
                <a:gd name="T65" fmla="*/ 46 h 114"/>
                <a:gd name="T66" fmla="*/ 34 w 123"/>
                <a:gd name="T67" fmla="*/ 36 h 114"/>
                <a:gd name="T68" fmla="*/ 35 w 123"/>
                <a:gd name="T69" fmla="*/ 31 h 114"/>
                <a:gd name="T70" fmla="*/ 30 w 123"/>
                <a:gd name="T71" fmla="*/ 19 h 114"/>
                <a:gd name="T72" fmla="*/ 31 w 123"/>
                <a:gd name="T73" fmla="*/ 19 h 114"/>
                <a:gd name="T74" fmla="*/ 40 w 123"/>
                <a:gd name="T75" fmla="*/ 8 h 114"/>
                <a:gd name="T76" fmla="*/ 40 w 123"/>
                <a:gd name="T77" fmla="*/ 3 h 114"/>
                <a:gd name="T78" fmla="*/ 51 w 123"/>
                <a:gd name="T79" fmla="*/ 3 h 114"/>
                <a:gd name="T80" fmla="*/ 56 w 123"/>
                <a:gd name="T81" fmla="*/ 0 h 114"/>
                <a:gd name="T82" fmla="*/ 62 w 123"/>
                <a:gd name="T83" fmla="*/ 3 h 114"/>
                <a:gd name="T84" fmla="*/ 67 w 123"/>
                <a:gd name="T85" fmla="*/ 6 h 114"/>
                <a:gd name="T86" fmla="*/ 73 w 123"/>
                <a:gd name="T87" fmla="*/ 7 h 114"/>
                <a:gd name="T88" fmla="*/ 75 w 123"/>
                <a:gd name="T89" fmla="*/ 21 h 114"/>
                <a:gd name="T90" fmla="*/ 81 w 123"/>
                <a:gd name="T91" fmla="*/ 22 h 114"/>
                <a:gd name="T92" fmla="*/ 87 w 123"/>
                <a:gd name="T93" fmla="*/ 25 h 114"/>
                <a:gd name="T94" fmla="*/ 88 w 123"/>
                <a:gd name="T95" fmla="*/ 29 h 114"/>
                <a:gd name="T96" fmla="*/ 92 w 123"/>
                <a:gd name="T97" fmla="*/ 27 h 114"/>
                <a:gd name="T98" fmla="*/ 103 w 123"/>
                <a:gd name="T99" fmla="*/ 37 h 114"/>
                <a:gd name="T100" fmla="*/ 102 w 123"/>
                <a:gd name="T101" fmla="*/ 45 h 114"/>
                <a:gd name="T102" fmla="*/ 97 w 123"/>
                <a:gd name="T103" fmla="*/ 51 h 114"/>
                <a:gd name="T104" fmla="*/ 101 w 123"/>
                <a:gd name="T105" fmla="*/ 56 h 114"/>
                <a:gd name="T106" fmla="*/ 105 w 123"/>
                <a:gd name="T107" fmla="*/ 54 h 114"/>
                <a:gd name="T108" fmla="*/ 110 w 123"/>
                <a:gd name="T109" fmla="*/ 56 h 114"/>
                <a:gd name="T110" fmla="*/ 110 w 123"/>
                <a:gd name="T111" fmla="*/ 62 h 114"/>
                <a:gd name="T112" fmla="*/ 113 w 123"/>
                <a:gd name="T113" fmla="*/ 64 h 114"/>
                <a:gd name="T114" fmla="*/ 118 w 123"/>
                <a:gd name="T115" fmla="*/ 65 h 114"/>
                <a:gd name="T116" fmla="*/ 119 w 123"/>
                <a:gd name="T117" fmla="*/ 70 h 114"/>
                <a:gd name="T118" fmla="*/ 122 w 123"/>
                <a:gd name="T119" fmla="*/ 73 h 114"/>
                <a:gd name="T120" fmla="*/ 123 w 123"/>
                <a:gd name="T121" fmla="*/ 8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4">
                  <a:moveTo>
                    <a:pt x="123" y="83"/>
                  </a:moveTo>
                  <a:cubicBezTo>
                    <a:pt x="122" y="84"/>
                    <a:pt x="121" y="86"/>
                    <a:pt x="120" y="87"/>
                  </a:cubicBezTo>
                  <a:cubicBezTo>
                    <a:pt x="115" y="92"/>
                    <a:pt x="113" y="88"/>
                    <a:pt x="108" y="92"/>
                  </a:cubicBezTo>
                  <a:cubicBezTo>
                    <a:pt x="103" y="96"/>
                    <a:pt x="104" y="102"/>
                    <a:pt x="101" y="108"/>
                  </a:cubicBezTo>
                  <a:cubicBezTo>
                    <a:pt x="99" y="113"/>
                    <a:pt x="93" y="110"/>
                    <a:pt x="87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1"/>
                    <a:pt x="64" y="101"/>
                    <a:pt x="64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5" y="104"/>
                    <a:pt x="14" y="104"/>
                  </a:cubicBezTo>
                  <a:cubicBezTo>
                    <a:pt x="13" y="104"/>
                    <a:pt x="9" y="100"/>
                    <a:pt x="9" y="97"/>
                  </a:cubicBezTo>
                  <a:cubicBezTo>
                    <a:pt x="8" y="94"/>
                    <a:pt x="8" y="92"/>
                    <a:pt x="9" y="89"/>
                  </a:cubicBezTo>
                  <a:cubicBezTo>
                    <a:pt x="10" y="86"/>
                    <a:pt x="10" y="82"/>
                    <a:pt x="8" y="80"/>
                  </a:cubicBezTo>
                  <a:cubicBezTo>
                    <a:pt x="5" y="78"/>
                    <a:pt x="0" y="77"/>
                    <a:pt x="2" y="75"/>
                  </a:cubicBezTo>
                  <a:cubicBezTo>
                    <a:pt x="3" y="74"/>
                    <a:pt x="6" y="72"/>
                    <a:pt x="6" y="69"/>
                  </a:cubicBezTo>
                  <a:cubicBezTo>
                    <a:pt x="6" y="66"/>
                    <a:pt x="11" y="64"/>
                    <a:pt x="12" y="65"/>
                  </a:cubicBezTo>
                  <a:cubicBezTo>
                    <a:pt x="13" y="66"/>
                    <a:pt x="13" y="69"/>
                    <a:pt x="18" y="69"/>
                  </a:cubicBezTo>
                  <a:cubicBezTo>
                    <a:pt x="23" y="69"/>
                    <a:pt x="22" y="70"/>
                    <a:pt x="25" y="66"/>
                  </a:cubicBezTo>
                  <a:cubicBezTo>
                    <a:pt x="27" y="61"/>
                    <a:pt x="29" y="59"/>
                    <a:pt x="27" y="56"/>
                  </a:cubicBezTo>
                  <a:cubicBezTo>
                    <a:pt x="26" y="52"/>
                    <a:pt x="23" y="48"/>
                    <a:pt x="25" y="46"/>
                  </a:cubicBezTo>
                  <a:cubicBezTo>
                    <a:pt x="27" y="44"/>
                    <a:pt x="33" y="38"/>
                    <a:pt x="34" y="36"/>
                  </a:cubicBezTo>
                  <a:cubicBezTo>
                    <a:pt x="35" y="34"/>
                    <a:pt x="36" y="33"/>
                    <a:pt x="35" y="31"/>
                  </a:cubicBezTo>
                  <a:cubicBezTo>
                    <a:pt x="33" y="29"/>
                    <a:pt x="31" y="22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41" y="11"/>
                    <a:pt x="40" y="8"/>
                  </a:cubicBezTo>
                  <a:cubicBezTo>
                    <a:pt x="40" y="6"/>
                    <a:pt x="40" y="3"/>
                    <a:pt x="4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3" y="0"/>
                    <a:pt x="56" y="0"/>
                  </a:cubicBezTo>
                  <a:cubicBezTo>
                    <a:pt x="58" y="0"/>
                    <a:pt x="62" y="0"/>
                    <a:pt x="62" y="3"/>
                  </a:cubicBezTo>
                  <a:cubicBezTo>
                    <a:pt x="62" y="5"/>
                    <a:pt x="66" y="6"/>
                    <a:pt x="67" y="6"/>
                  </a:cubicBezTo>
                  <a:cubicBezTo>
                    <a:pt x="67" y="6"/>
                    <a:pt x="73" y="7"/>
                    <a:pt x="73" y="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9" y="20"/>
                    <a:pt x="81" y="22"/>
                  </a:cubicBezTo>
                  <a:cubicBezTo>
                    <a:pt x="84" y="24"/>
                    <a:pt x="87" y="25"/>
                    <a:pt x="87" y="25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22" y="73"/>
                    <a:pt x="122" y="73"/>
                    <a:pt x="122" y="73"/>
                  </a:cubicBezTo>
                  <a:lnTo>
                    <a:pt x="123" y="8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6" name="Владимирская обл.">
              <a:extLst>
                <a:ext uri="{FF2B5EF4-FFF2-40B4-BE49-F238E27FC236}">
                  <a16:creationId xmlns:a16="http://schemas.microsoft.com/office/drawing/2014/main" id="{2AD3D479-07DD-5A53-7E6A-5E8100459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818" y="3962859"/>
              <a:ext cx="278395" cy="316552"/>
            </a:xfrm>
            <a:custGeom>
              <a:avLst/>
              <a:gdLst>
                <a:gd name="T0" fmla="*/ 102 w 109"/>
                <a:gd name="T1" fmla="*/ 120 h 139"/>
                <a:gd name="T2" fmla="*/ 98 w 109"/>
                <a:gd name="T3" fmla="*/ 122 h 139"/>
                <a:gd name="T4" fmla="*/ 84 w 109"/>
                <a:gd name="T5" fmla="*/ 125 h 139"/>
                <a:gd name="T6" fmla="*/ 75 w 109"/>
                <a:gd name="T7" fmla="*/ 133 h 139"/>
                <a:gd name="T8" fmla="*/ 67 w 109"/>
                <a:gd name="T9" fmla="*/ 133 h 139"/>
                <a:gd name="T10" fmla="*/ 59 w 109"/>
                <a:gd name="T11" fmla="*/ 139 h 139"/>
                <a:gd name="T12" fmla="*/ 50 w 109"/>
                <a:gd name="T13" fmla="*/ 135 h 139"/>
                <a:gd name="T14" fmla="*/ 38 w 109"/>
                <a:gd name="T15" fmla="*/ 125 h 139"/>
                <a:gd name="T16" fmla="*/ 36 w 109"/>
                <a:gd name="T17" fmla="*/ 116 h 139"/>
                <a:gd name="T18" fmla="*/ 27 w 109"/>
                <a:gd name="T19" fmla="*/ 110 h 139"/>
                <a:gd name="T20" fmla="*/ 21 w 109"/>
                <a:gd name="T21" fmla="*/ 100 h 139"/>
                <a:gd name="T22" fmla="*/ 19 w 109"/>
                <a:gd name="T23" fmla="*/ 100 h 139"/>
                <a:gd name="T24" fmla="*/ 21 w 109"/>
                <a:gd name="T25" fmla="*/ 87 h 139"/>
                <a:gd name="T26" fmla="*/ 27 w 109"/>
                <a:gd name="T27" fmla="*/ 75 h 139"/>
                <a:gd name="T28" fmla="*/ 27 w 109"/>
                <a:gd name="T29" fmla="*/ 64 h 139"/>
                <a:gd name="T30" fmla="*/ 13 w 109"/>
                <a:gd name="T31" fmla="*/ 58 h 139"/>
                <a:gd name="T32" fmla="*/ 13 w 109"/>
                <a:gd name="T33" fmla="*/ 41 h 139"/>
                <a:gd name="T34" fmla="*/ 4 w 109"/>
                <a:gd name="T35" fmla="*/ 43 h 139"/>
                <a:gd name="T36" fmla="*/ 0 w 109"/>
                <a:gd name="T37" fmla="*/ 33 h 139"/>
                <a:gd name="T38" fmla="*/ 9 w 109"/>
                <a:gd name="T39" fmla="*/ 27 h 139"/>
                <a:gd name="T40" fmla="*/ 11 w 109"/>
                <a:gd name="T41" fmla="*/ 18 h 139"/>
                <a:gd name="T42" fmla="*/ 15 w 109"/>
                <a:gd name="T43" fmla="*/ 10 h 139"/>
                <a:gd name="T44" fmla="*/ 21 w 109"/>
                <a:gd name="T45" fmla="*/ 0 h 139"/>
                <a:gd name="T46" fmla="*/ 44 w 109"/>
                <a:gd name="T47" fmla="*/ 16 h 139"/>
                <a:gd name="T48" fmla="*/ 61 w 109"/>
                <a:gd name="T49" fmla="*/ 12 h 139"/>
                <a:gd name="T50" fmla="*/ 69 w 109"/>
                <a:gd name="T51" fmla="*/ 20 h 139"/>
                <a:gd name="T52" fmla="*/ 65 w 109"/>
                <a:gd name="T53" fmla="*/ 35 h 139"/>
                <a:gd name="T54" fmla="*/ 65 w 109"/>
                <a:gd name="T55" fmla="*/ 45 h 139"/>
                <a:gd name="T56" fmla="*/ 82 w 109"/>
                <a:gd name="T57" fmla="*/ 50 h 139"/>
                <a:gd name="T58" fmla="*/ 109 w 109"/>
                <a:gd name="T59" fmla="*/ 79 h 139"/>
                <a:gd name="T60" fmla="*/ 102 w 109"/>
                <a:gd name="T61" fmla="*/ 1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" h="139">
                  <a:moveTo>
                    <a:pt x="102" y="120"/>
                  </a:moveTo>
                  <a:lnTo>
                    <a:pt x="98" y="122"/>
                  </a:lnTo>
                  <a:lnTo>
                    <a:pt x="84" y="125"/>
                  </a:lnTo>
                  <a:lnTo>
                    <a:pt x="75" y="133"/>
                  </a:lnTo>
                  <a:lnTo>
                    <a:pt x="67" y="133"/>
                  </a:lnTo>
                  <a:lnTo>
                    <a:pt x="59" y="139"/>
                  </a:lnTo>
                  <a:lnTo>
                    <a:pt x="50" y="135"/>
                  </a:lnTo>
                  <a:lnTo>
                    <a:pt x="38" y="125"/>
                  </a:lnTo>
                  <a:lnTo>
                    <a:pt x="36" y="116"/>
                  </a:lnTo>
                  <a:lnTo>
                    <a:pt x="27" y="110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87"/>
                  </a:lnTo>
                  <a:lnTo>
                    <a:pt x="27" y="75"/>
                  </a:lnTo>
                  <a:lnTo>
                    <a:pt x="27" y="64"/>
                  </a:lnTo>
                  <a:lnTo>
                    <a:pt x="13" y="58"/>
                  </a:lnTo>
                  <a:lnTo>
                    <a:pt x="13" y="41"/>
                  </a:lnTo>
                  <a:lnTo>
                    <a:pt x="4" y="43"/>
                  </a:lnTo>
                  <a:lnTo>
                    <a:pt x="0" y="33"/>
                  </a:lnTo>
                  <a:lnTo>
                    <a:pt x="9" y="27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21" y="0"/>
                  </a:lnTo>
                  <a:lnTo>
                    <a:pt x="44" y="16"/>
                  </a:lnTo>
                  <a:lnTo>
                    <a:pt x="61" y="12"/>
                  </a:lnTo>
                  <a:lnTo>
                    <a:pt x="69" y="20"/>
                  </a:lnTo>
                  <a:lnTo>
                    <a:pt x="65" y="35"/>
                  </a:lnTo>
                  <a:lnTo>
                    <a:pt x="65" y="45"/>
                  </a:lnTo>
                  <a:lnTo>
                    <a:pt x="82" y="50"/>
                  </a:lnTo>
                  <a:lnTo>
                    <a:pt x="109" y="79"/>
                  </a:lnTo>
                  <a:lnTo>
                    <a:pt x="102" y="12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7" name="Брянская обл.">
              <a:extLst>
                <a:ext uri="{FF2B5EF4-FFF2-40B4-BE49-F238E27FC236}">
                  <a16:creationId xmlns:a16="http://schemas.microsoft.com/office/drawing/2014/main" id="{E87A5DA4-686B-1FB7-0AFF-82779573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419" y="3899093"/>
              <a:ext cx="344800" cy="300610"/>
            </a:xfrm>
            <a:custGeom>
              <a:avLst/>
              <a:gdLst>
                <a:gd name="T0" fmla="*/ 28 w 65"/>
                <a:gd name="T1" fmla="*/ 59 h 63"/>
                <a:gd name="T2" fmla="*/ 29 w 65"/>
                <a:gd name="T3" fmla="*/ 47 h 63"/>
                <a:gd name="T4" fmla="*/ 23 w 65"/>
                <a:gd name="T5" fmla="*/ 40 h 63"/>
                <a:gd name="T6" fmla="*/ 14 w 65"/>
                <a:gd name="T7" fmla="*/ 37 h 63"/>
                <a:gd name="T8" fmla="*/ 11 w 65"/>
                <a:gd name="T9" fmla="*/ 31 h 63"/>
                <a:gd name="T10" fmla="*/ 5 w 65"/>
                <a:gd name="T11" fmla="*/ 31 h 63"/>
                <a:gd name="T12" fmla="*/ 1 w 65"/>
                <a:gd name="T13" fmla="*/ 27 h 63"/>
                <a:gd name="T14" fmla="*/ 5 w 65"/>
                <a:gd name="T15" fmla="*/ 18 h 63"/>
                <a:gd name="T16" fmla="*/ 12 w 65"/>
                <a:gd name="T17" fmla="*/ 7 h 63"/>
                <a:gd name="T18" fmla="*/ 18 w 65"/>
                <a:gd name="T19" fmla="*/ 1 h 63"/>
                <a:gd name="T20" fmla="*/ 23 w 65"/>
                <a:gd name="T21" fmla="*/ 8 h 63"/>
                <a:gd name="T22" fmla="*/ 34 w 65"/>
                <a:gd name="T23" fmla="*/ 13 h 63"/>
                <a:gd name="T24" fmla="*/ 39 w 65"/>
                <a:gd name="T25" fmla="*/ 12 h 63"/>
                <a:gd name="T26" fmla="*/ 41 w 65"/>
                <a:gd name="T27" fmla="*/ 14 h 63"/>
                <a:gd name="T28" fmla="*/ 43 w 65"/>
                <a:gd name="T29" fmla="*/ 21 h 63"/>
                <a:gd name="T30" fmla="*/ 49 w 65"/>
                <a:gd name="T31" fmla="*/ 13 h 63"/>
                <a:gd name="T32" fmla="*/ 59 w 65"/>
                <a:gd name="T33" fmla="*/ 9 h 63"/>
                <a:gd name="T34" fmla="*/ 61 w 65"/>
                <a:gd name="T35" fmla="*/ 10 h 63"/>
                <a:gd name="T36" fmla="*/ 62 w 65"/>
                <a:gd name="T37" fmla="*/ 18 h 63"/>
                <a:gd name="T38" fmla="*/ 63 w 65"/>
                <a:gd name="T39" fmla="*/ 23 h 63"/>
                <a:gd name="T40" fmla="*/ 63 w 65"/>
                <a:gd name="T41" fmla="*/ 29 h 63"/>
                <a:gd name="T42" fmla="*/ 59 w 65"/>
                <a:gd name="T43" fmla="*/ 32 h 63"/>
                <a:gd name="T44" fmla="*/ 60 w 65"/>
                <a:gd name="T45" fmla="*/ 36 h 63"/>
                <a:gd name="T46" fmla="*/ 65 w 65"/>
                <a:gd name="T47" fmla="*/ 41 h 63"/>
                <a:gd name="T48" fmla="*/ 65 w 65"/>
                <a:gd name="T49" fmla="*/ 45 h 63"/>
                <a:gd name="T50" fmla="*/ 62 w 65"/>
                <a:gd name="T51" fmla="*/ 46 h 63"/>
                <a:gd name="T52" fmla="*/ 62 w 65"/>
                <a:gd name="T53" fmla="*/ 51 h 63"/>
                <a:gd name="T54" fmla="*/ 59 w 65"/>
                <a:gd name="T55" fmla="*/ 53 h 63"/>
                <a:gd name="T56" fmla="*/ 56 w 65"/>
                <a:gd name="T57" fmla="*/ 49 h 63"/>
                <a:gd name="T58" fmla="*/ 50 w 65"/>
                <a:gd name="T59" fmla="*/ 51 h 63"/>
                <a:gd name="T60" fmla="*/ 50 w 65"/>
                <a:gd name="T61" fmla="*/ 57 h 63"/>
                <a:gd name="T62" fmla="*/ 44 w 65"/>
                <a:gd name="T63" fmla="*/ 59 h 63"/>
                <a:gd name="T64" fmla="*/ 43 w 65"/>
                <a:gd name="T65" fmla="*/ 63 h 63"/>
                <a:gd name="T66" fmla="*/ 38 w 65"/>
                <a:gd name="T67" fmla="*/ 61 h 63"/>
                <a:gd name="T68" fmla="*/ 32 w 65"/>
                <a:gd name="T69" fmla="*/ 60 h 63"/>
                <a:gd name="T70" fmla="*/ 27 w 65"/>
                <a:gd name="T71" fmla="*/ 60 h 63"/>
                <a:gd name="T72" fmla="*/ 28 w 65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63">
                  <a:moveTo>
                    <a:pt x="28" y="59"/>
                  </a:moveTo>
                  <a:cubicBezTo>
                    <a:pt x="30" y="56"/>
                    <a:pt x="30" y="51"/>
                    <a:pt x="29" y="47"/>
                  </a:cubicBezTo>
                  <a:cubicBezTo>
                    <a:pt x="29" y="43"/>
                    <a:pt x="25" y="43"/>
                    <a:pt x="23" y="40"/>
                  </a:cubicBezTo>
                  <a:cubicBezTo>
                    <a:pt x="21" y="37"/>
                    <a:pt x="15" y="40"/>
                    <a:pt x="14" y="37"/>
                  </a:cubicBezTo>
                  <a:cubicBezTo>
                    <a:pt x="14" y="34"/>
                    <a:pt x="12" y="31"/>
                    <a:pt x="11" y="31"/>
                  </a:cubicBezTo>
                  <a:cubicBezTo>
                    <a:pt x="10" y="31"/>
                    <a:pt x="8" y="31"/>
                    <a:pt x="5" y="31"/>
                  </a:cubicBezTo>
                  <a:cubicBezTo>
                    <a:pt x="2" y="32"/>
                    <a:pt x="0" y="31"/>
                    <a:pt x="1" y="27"/>
                  </a:cubicBezTo>
                  <a:cubicBezTo>
                    <a:pt x="1" y="23"/>
                    <a:pt x="4" y="21"/>
                    <a:pt x="5" y="18"/>
                  </a:cubicBezTo>
                  <a:cubicBezTo>
                    <a:pt x="5" y="15"/>
                    <a:pt x="12" y="14"/>
                    <a:pt x="12" y="7"/>
                  </a:cubicBezTo>
                  <a:cubicBezTo>
                    <a:pt x="12" y="0"/>
                    <a:pt x="15" y="1"/>
                    <a:pt x="18" y="1"/>
                  </a:cubicBezTo>
                  <a:cubicBezTo>
                    <a:pt x="21" y="1"/>
                    <a:pt x="23" y="2"/>
                    <a:pt x="23" y="8"/>
                  </a:cubicBezTo>
                  <a:cubicBezTo>
                    <a:pt x="23" y="14"/>
                    <a:pt x="29" y="13"/>
                    <a:pt x="34" y="13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7" y="60"/>
                    <a:pt x="27" y="60"/>
                    <a:pt x="27" y="60"/>
                  </a:cubicBezTo>
                  <a:lnTo>
                    <a:pt x="28" y="5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8" name="Белгородская обл.">
              <a:extLst>
                <a:ext uri="{FF2B5EF4-FFF2-40B4-BE49-F238E27FC236}">
                  <a16:creationId xmlns:a16="http://schemas.microsoft.com/office/drawing/2014/main" id="{C512F489-F17D-C6B6-3142-B94737E5A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488" y="4370503"/>
              <a:ext cx="278395" cy="332493"/>
            </a:xfrm>
            <a:custGeom>
              <a:avLst/>
              <a:gdLst>
                <a:gd name="T0" fmla="*/ 36 w 52"/>
                <a:gd name="T1" fmla="*/ 70 h 70"/>
                <a:gd name="T2" fmla="*/ 31 w 52"/>
                <a:gd name="T3" fmla="*/ 64 h 70"/>
                <a:gd name="T4" fmla="*/ 29 w 52"/>
                <a:gd name="T5" fmla="*/ 56 h 70"/>
                <a:gd name="T6" fmla="*/ 22 w 52"/>
                <a:gd name="T7" fmla="*/ 53 h 70"/>
                <a:gd name="T8" fmla="*/ 20 w 52"/>
                <a:gd name="T9" fmla="*/ 46 h 70"/>
                <a:gd name="T10" fmla="*/ 24 w 52"/>
                <a:gd name="T11" fmla="*/ 36 h 70"/>
                <a:gd name="T12" fmla="*/ 14 w 52"/>
                <a:gd name="T13" fmla="*/ 31 h 70"/>
                <a:gd name="T14" fmla="*/ 6 w 52"/>
                <a:gd name="T15" fmla="*/ 23 h 70"/>
                <a:gd name="T16" fmla="*/ 3 w 52"/>
                <a:gd name="T17" fmla="*/ 14 h 70"/>
                <a:gd name="T18" fmla="*/ 0 w 52"/>
                <a:gd name="T19" fmla="*/ 8 h 70"/>
                <a:gd name="T20" fmla="*/ 3 w 52"/>
                <a:gd name="T21" fmla="*/ 3 h 70"/>
                <a:gd name="T22" fmla="*/ 9 w 52"/>
                <a:gd name="T23" fmla="*/ 4 h 70"/>
                <a:gd name="T24" fmla="*/ 15 w 52"/>
                <a:gd name="T25" fmla="*/ 4 h 70"/>
                <a:gd name="T26" fmla="*/ 16 w 52"/>
                <a:gd name="T27" fmla="*/ 0 h 70"/>
                <a:gd name="T28" fmla="*/ 21 w 52"/>
                <a:gd name="T29" fmla="*/ 5 h 70"/>
                <a:gd name="T30" fmla="*/ 23 w 52"/>
                <a:gd name="T31" fmla="*/ 11 h 70"/>
                <a:gd name="T32" fmla="*/ 33 w 52"/>
                <a:gd name="T33" fmla="*/ 11 h 70"/>
                <a:gd name="T34" fmla="*/ 44 w 52"/>
                <a:gd name="T35" fmla="*/ 18 h 70"/>
                <a:gd name="T36" fmla="*/ 50 w 52"/>
                <a:gd name="T37" fmla="*/ 27 h 70"/>
                <a:gd name="T38" fmla="*/ 50 w 52"/>
                <a:gd name="T39" fmla="*/ 31 h 70"/>
                <a:gd name="T40" fmla="*/ 49 w 52"/>
                <a:gd name="T41" fmla="*/ 36 h 70"/>
                <a:gd name="T42" fmla="*/ 52 w 52"/>
                <a:gd name="T43" fmla="*/ 41 h 70"/>
                <a:gd name="T44" fmla="*/ 46 w 52"/>
                <a:gd name="T45" fmla="*/ 44 h 70"/>
                <a:gd name="T46" fmla="*/ 47 w 52"/>
                <a:gd name="T47" fmla="*/ 55 h 70"/>
                <a:gd name="T48" fmla="*/ 42 w 52"/>
                <a:gd name="T49" fmla="*/ 58 h 70"/>
                <a:gd name="T50" fmla="*/ 42 w 52"/>
                <a:gd name="T51" fmla="*/ 62 h 70"/>
                <a:gd name="T52" fmla="*/ 40 w 52"/>
                <a:gd name="T53" fmla="*/ 63 h 70"/>
                <a:gd name="T54" fmla="*/ 40 w 52"/>
                <a:gd name="T55" fmla="*/ 67 h 70"/>
                <a:gd name="T56" fmla="*/ 36 w 52"/>
                <a:gd name="T5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70">
                  <a:moveTo>
                    <a:pt x="36" y="70"/>
                  </a:moveTo>
                  <a:cubicBezTo>
                    <a:pt x="34" y="69"/>
                    <a:pt x="32" y="67"/>
                    <a:pt x="31" y="64"/>
                  </a:cubicBezTo>
                  <a:cubicBezTo>
                    <a:pt x="30" y="60"/>
                    <a:pt x="29" y="60"/>
                    <a:pt x="29" y="56"/>
                  </a:cubicBezTo>
                  <a:cubicBezTo>
                    <a:pt x="29" y="53"/>
                    <a:pt x="25" y="55"/>
                    <a:pt x="22" y="53"/>
                  </a:cubicBezTo>
                  <a:cubicBezTo>
                    <a:pt x="19" y="50"/>
                    <a:pt x="20" y="49"/>
                    <a:pt x="20" y="46"/>
                  </a:cubicBezTo>
                  <a:cubicBezTo>
                    <a:pt x="20" y="43"/>
                    <a:pt x="23" y="41"/>
                    <a:pt x="24" y="36"/>
                  </a:cubicBezTo>
                  <a:cubicBezTo>
                    <a:pt x="24" y="32"/>
                    <a:pt x="18" y="33"/>
                    <a:pt x="14" y="31"/>
                  </a:cubicBezTo>
                  <a:cubicBezTo>
                    <a:pt x="10" y="29"/>
                    <a:pt x="6" y="27"/>
                    <a:pt x="6" y="23"/>
                  </a:cubicBezTo>
                  <a:cubicBezTo>
                    <a:pt x="6" y="19"/>
                    <a:pt x="6" y="14"/>
                    <a:pt x="3" y="14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6"/>
                    <a:pt x="2" y="4"/>
                    <a:pt x="3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7"/>
                    <a:pt x="40" y="67"/>
                    <a:pt x="40" y="67"/>
                  </a:cubicBezTo>
                  <a:lnTo>
                    <a:pt x="36" y="7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9" name="Астраханская обл.">
              <a:extLst>
                <a:ext uri="{FF2B5EF4-FFF2-40B4-BE49-F238E27FC236}">
                  <a16:creationId xmlns:a16="http://schemas.microsoft.com/office/drawing/2014/main" id="{65262634-20E2-87DE-0797-C727DA9CC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341" y="5194903"/>
              <a:ext cx="293719" cy="485075"/>
            </a:xfrm>
            <a:custGeom>
              <a:avLst/>
              <a:gdLst>
                <a:gd name="T0" fmla="*/ 45 w 55"/>
                <a:gd name="T1" fmla="*/ 13 h 102"/>
                <a:gd name="T2" fmla="*/ 44 w 55"/>
                <a:gd name="T3" fmla="*/ 13 h 102"/>
                <a:gd name="T4" fmla="*/ 45 w 55"/>
                <a:gd name="T5" fmla="*/ 29 h 102"/>
                <a:gd name="T6" fmla="*/ 40 w 55"/>
                <a:gd name="T7" fmla="*/ 39 h 102"/>
                <a:gd name="T8" fmla="*/ 51 w 55"/>
                <a:gd name="T9" fmla="*/ 46 h 102"/>
                <a:gd name="T10" fmla="*/ 54 w 55"/>
                <a:gd name="T11" fmla="*/ 58 h 102"/>
                <a:gd name="T12" fmla="*/ 53 w 55"/>
                <a:gd name="T13" fmla="*/ 76 h 102"/>
                <a:gd name="T14" fmla="*/ 47 w 55"/>
                <a:gd name="T15" fmla="*/ 83 h 102"/>
                <a:gd name="T16" fmla="*/ 44 w 55"/>
                <a:gd name="T17" fmla="*/ 85 h 102"/>
                <a:gd name="T18" fmla="*/ 49 w 55"/>
                <a:gd name="T19" fmla="*/ 98 h 102"/>
                <a:gd name="T20" fmla="*/ 41 w 55"/>
                <a:gd name="T21" fmla="*/ 100 h 102"/>
                <a:gd name="T22" fmla="*/ 31 w 55"/>
                <a:gd name="T23" fmla="*/ 102 h 102"/>
                <a:gd name="T24" fmla="*/ 24 w 55"/>
                <a:gd name="T25" fmla="*/ 100 h 102"/>
                <a:gd name="T26" fmla="*/ 13 w 55"/>
                <a:gd name="T27" fmla="*/ 97 h 102"/>
                <a:gd name="T28" fmla="*/ 6 w 55"/>
                <a:gd name="T29" fmla="*/ 94 h 102"/>
                <a:gd name="T30" fmla="*/ 6 w 55"/>
                <a:gd name="T31" fmla="*/ 94 h 102"/>
                <a:gd name="T32" fmla="*/ 6 w 55"/>
                <a:gd name="T33" fmla="*/ 81 h 102"/>
                <a:gd name="T34" fmla="*/ 5 w 55"/>
                <a:gd name="T35" fmla="*/ 77 h 102"/>
                <a:gd name="T36" fmla="*/ 2 w 55"/>
                <a:gd name="T37" fmla="*/ 71 h 102"/>
                <a:gd name="T38" fmla="*/ 3 w 55"/>
                <a:gd name="T39" fmla="*/ 67 h 102"/>
                <a:gd name="T40" fmla="*/ 6 w 55"/>
                <a:gd name="T41" fmla="*/ 66 h 102"/>
                <a:gd name="T42" fmla="*/ 11 w 55"/>
                <a:gd name="T43" fmla="*/ 68 h 102"/>
                <a:gd name="T44" fmla="*/ 11 w 55"/>
                <a:gd name="T45" fmla="*/ 66 h 102"/>
                <a:gd name="T46" fmla="*/ 18 w 55"/>
                <a:gd name="T47" fmla="*/ 65 h 102"/>
                <a:gd name="T48" fmla="*/ 20 w 55"/>
                <a:gd name="T49" fmla="*/ 61 h 102"/>
                <a:gd name="T50" fmla="*/ 18 w 55"/>
                <a:gd name="T51" fmla="*/ 59 h 102"/>
                <a:gd name="T52" fmla="*/ 18 w 55"/>
                <a:gd name="T53" fmla="*/ 57 h 102"/>
                <a:gd name="T54" fmla="*/ 19 w 55"/>
                <a:gd name="T55" fmla="*/ 54 h 102"/>
                <a:gd name="T56" fmla="*/ 20 w 55"/>
                <a:gd name="T57" fmla="*/ 49 h 102"/>
                <a:gd name="T58" fmla="*/ 24 w 55"/>
                <a:gd name="T59" fmla="*/ 45 h 102"/>
                <a:gd name="T60" fmla="*/ 25 w 55"/>
                <a:gd name="T61" fmla="*/ 39 h 102"/>
                <a:gd name="T62" fmla="*/ 18 w 55"/>
                <a:gd name="T63" fmla="*/ 40 h 102"/>
                <a:gd name="T64" fmla="*/ 14 w 55"/>
                <a:gd name="T65" fmla="*/ 34 h 102"/>
                <a:gd name="T66" fmla="*/ 13 w 55"/>
                <a:gd name="T67" fmla="*/ 25 h 102"/>
                <a:gd name="T68" fmla="*/ 16 w 55"/>
                <a:gd name="T69" fmla="*/ 18 h 102"/>
                <a:gd name="T70" fmla="*/ 13 w 55"/>
                <a:gd name="T71" fmla="*/ 16 h 102"/>
                <a:gd name="T72" fmla="*/ 10 w 55"/>
                <a:gd name="T73" fmla="*/ 7 h 102"/>
                <a:gd name="T74" fmla="*/ 9 w 55"/>
                <a:gd name="T75" fmla="*/ 7 h 102"/>
                <a:gd name="T76" fmla="*/ 12 w 55"/>
                <a:gd name="T77" fmla="*/ 1 h 102"/>
                <a:gd name="T78" fmla="*/ 22 w 55"/>
                <a:gd name="T79" fmla="*/ 0 h 102"/>
                <a:gd name="T80" fmla="*/ 23 w 55"/>
                <a:gd name="T81" fmla="*/ 2 h 102"/>
                <a:gd name="T82" fmla="*/ 30 w 55"/>
                <a:gd name="T83" fmla="*/ 4 h 102"/>
                <a:gd name="T84" fmla="*/ 41 w 55"/>
                <a:gd name="T85" fmla="*/ 3 h 102"/>
                <a:gd name="T86" fmla="*/ 45 w 55"/>
                <a:gd name="T87" fmla="*/ 13 h 102"/>
                <a:gd name="T88" fmla="*/ 0 w 55"/>
                <a:gd name="T89" fmla="*/ 100 h 102"/>
                <a:gd name="T90" fmla="*/ 0 w 55"/>
                <a:gd name="T91" fmla="*/ 100 h 102"/>
                <a:gd name="T92" fmla="*/ 0 w 55"/>
                <a:gd name="T93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102">
                  <a:moveTo>
                    <a:pt x="45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37" y="18"/>
                    <a:pt x="42" y="23"/>
                    <a:pt x="45" y="29"/>
                  </a:cubicBezTo>
                  <a:cubicBezTo>
                    <a:pt x="47" y="35"/>
                    <a:pt x="38" y="35"/>
                    <a:pt x="40" y="39"/>
                  </a:cubicBezTo>
                  <a:cubicBezTo>
                    <a:pt x="41" y="44"/>
                    <a:pt x="48" y="44"/>
                    <a:pt x="51" y="46"/>
                  </a:cubicBezTo>
                  <a:cubicBezTo>
                    <a:pt x="55" y="48"/>
                    <a:pt x="54" y="54"/>
                    <a:pt x="54" y="58"/>
                  </a:cubicBezTo>
                  <a:cubicBezTo>
                    <a:pt x="54" y="62"/>
                    <a:pt x="53" y="65"/>
                    <a:pt x="53" y="76"/>
                  </a:cubicBezTo>
                  <a:cubicBezTo>
                    <a:pt x="53" y="87"/>
                    <a:pt x="48" y="85"/>
                    <a:pt x="47" y="83"/>
                  </a:cubicBezTo>
                  <a:cubicBezTo>
                    <a:pt x="47" y="81"/>
                    <a:pt x="41" y="79"/>
                    <a:pt x="44" y="85"/>
                  </a:cubicBezTo>
                  <a:cubicBezTo>
                    <a:pt x="46" y="88"/>
                    <a:pt x="48" y="94"/>
                    <a:pt x="49" y="98"/>
                  </a:cubicBezTo>
                  <a:cubicBezTo>
                    <a:pt x="47" y="100"/>
                    <a:pt x="43" y="100"/>
                    <a:pt x="41" y="100"/>
                  </a:cubicBezTo>
                  <a:cubicBezTo>
                    <a:pt x="38" y="99"/>
                    <a:pt x="36" y="101"/>
                    <a:pt x="31" y="102"/>
                  </a:cubicBezTo>
                  <a:cubicBezTo>
                    <a:pt x="27" y="102"/>
                    <a:pt x="32" y="100"/>
                    <a:pt x="24" y="100"/>
                  </a:cubicBezTo>
                  <a:cubicBezTo>
                    <a:pt x="17" y="99"/>
                    <a:pt x="15" y="99"/>
                    <a:pt x="13" y="97"/>
                  </a:cubicBezTo>
                  <a:cubicBezTo>
                    <a:pt x="11" y="95"/>
                    <a:pt x="11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0" name="Архангельская обл.">
              <a:extLst>
                <a:ext uri="{FF2B5EF4-FFF2-40B4-BE49-F238E27FC236}">
                  <a16:creationId xmlns:a16="http://schemas.microsoft.com/office/drawing/2014/main" id="{1F27CA01-FFE8-E478-8EEA-4428F892A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5525" y="2979045"/>
              <a:ext cx="1103361" cy="958763"/>
            </a:xfrm>
            <a:custGeom>
              <a:avLst/>
              <a:gdLst>
                <a:gd name="T0" fmla="*/ 50 w 207"/>
                <a:gd name="T1" fmla="*/ 36 h 202"/>
                <a:gd name="T2" fmla="*/ 66 w 207"/>
                <a:gd name="T3" fmla="*/ 31 h 202"/>
                <a:gd name="T4" fmla="*/ 62 w 207"/>
                <a:gd name="T5" fmla="*/ 9 h 202"/>
                <a:gd name="T6" fmla="*/ 77 w 207"/>
                <a:gd name="T7" fmla="*/ 8 h 202"/>
                <a:gd name="T8" fmla="*/ 84 w 207"/>
                <a:gd name="T9" fmla="*/ 34 h 202"/>
                <a:gd name="T10" fmla="*/ 100 w 207"/>
                <a:gd name="T11" fmla="*/ 43 h 202"/>
                <a:gd name="T12" fmla="*/ 109 w 207"/>
                <a:gd name="T13" fmla="*/ 20 h 202"/>
                <a:gd name="T14" fmla="*/ 138 w 207"/>
                <a:gd name="T15" fmla="*/ 20 h 202"/>
                <a:gd name="T16" fmla="*/ 158 w 207"/>
                <a:gd name="T17" fmla="*/ 30 h 202"/>
                <a:gd name="T18" fmla="*/ 166 w 207"/>
                <a:gd name="T19" fmla="*/ 34 h 202"/>
                <a:gd name="T20" fmla="*/ 172 w 207"/>
                <a:gd name="T21" fmla="*/ 54 h 202"/>
                <a:gd name="T22" fmla="*/ 182 w 207"/>
                <a:gd name="T23" fmla="*/ 69 h 202"/>
                <a:gd name="T24" fmla="*/ 196 w 207"/>
                <a:gd name="T25" fmla="*/ 76 h 202"/>
                <a:gd name="T26" fmla="*/ 207 w 207"/>
                <a:gd name="T27" fmla="*/ 77 h 202"/>
                <a:gd name="T28" fmla="*/ 195 w 207"/>
                <a:gd name="T29" fmla="*/ 96 h 202"/>
                <a:gd name="T30" fmla="*/ 198 w 207"/>
                <a:gd name="T31" fmla="*/ 112 h 202"/>
                <a:gd name="T32" fmla="*/ 195 w 207"/>
                <a:gd name="T33" fmla="*/ 127 h 202"/>
                <a:gd name="T34" fmla="*/ 171 w 207"/>
                <a:gd name="T35" fmla="*/ 123 h 202"/>
                <a:gd name="T36" fmla="*/ 157 w 207"/>
                <a:gd name="T37" fmla="*/ 109 h 202"/>
                <a:gd name="T38" fmla="*/ 141 w 207"/>
                <a:gd name="T39" fmla="*/ 100 h 202"/>
                <a:gd name="T40" fmla="*/ 139 w 207"/>
                <a:gd name="T41" fmla="*/ 110 h 202"/>
                <a:gd name="T42" fmla="*/ 144 w 207"/>
                <a:gd name="T43" fmla="*/ 126 h 202"/>
                <a:gd name="T44" fmla="*/ 138 w 207"/>
                <a:gd name="T45" fmla="*/ 134 h 202"/>
                <a:gd name="T46" fmla="*/ 141 w 207"/>
                <a:gd name="T47" fmla="*/ 144 h 202"/>
                <a:gd name="T48" fmla="*/ 129 w 207"/>
                <a:gd name="T49" fmla="*/ 152 h 202"/>
                <a:gd name="T50" fmla="*/ 126 w 207"/>
                <a:gd name="T51" fmla="*/ 163 h 202"/>
                <a:gd name="T52" fmla="*/ 140 w 207"/>
                <a:gd name="T53" fmla="*/ 161 h 202"/>
                <a:gd name="T54" fmla="*/ 154 w 207"/>
                <a:gd name="T55" fmla="*/ 159 h 202"/>
                <a:gd name="T56" fmla="*/ 135 w 207"/>
                <a:gd name="T57" fmla="*/ 187 h 202"/>
                <a:gd name="T58" fmla="*/ 129 w 207"/>
                <a:gd name="T59" fmla="*/ 202 h 202"/>
                <a:gd name="T60" fmla="*/ 113 w 207"/>
                <a:gd name="T61" fmla="*/ 202 h 202"/>
                <a:gd name="T62" fmla="*/ 112 w 207"/>
                <a:gd name="T63" fmla="*/ 196 h 202"/>
                <a:gd name="T64" fmla="*/ 98 w 207"/>
                <a:gd name="T65" fmla="*/ 193 h 202"/>
                <a:gd name="T66" fmla="*/ 95 w 207"/>
                <a:gd name="T67" fmla="*/ 184 h 202"/>
                <a:gd name="T68" fmla="*/ 88 w 207"/>
                <a:gd name="T69" fmla="*/ 175 h 202"/>
                <a:gd name="T70" fmla="*/ 78 w 207"/>
                <a:gd name="T71" fmla="*/ 176 h 202"/>
                <a:gd name="T72" fmla="*/ 68 w 207"/>
                <a:gd name="T73" fmla="*/ 163 h 202"/>
                <a:gd name="T74" fmla="*/ 54 w 207"/>
                <a:gd name="T75" fmla="*/ 165 h 202"/>
                <a:gd name="T76" fmla="*/ 44 w 207"/>
                <a:gd name="T77" fmla="*/ 150 h 202"/>
                <a:gd name="T78" fmla="*/ 35 w 207"/>
                <a:gd name="T79" fmla="*/ 143 h 202"/>
                <a:gd name="T80" fmla="*/ 22 w 207"/>
                <a:gd name="T81" fmla="*/ 137 h 202"/>
                <a:gd name="T82" fmla="*/ 10 w 207"/>
                <a:gd name="T83" fmla="*/ 129 h 202"/>
                <a:gd name="T84" fmla="*/ 5 w 207"/>
                <a:gd name="T85" fmla="*/ 122 h 202"/>
                <a:gd name="T86" fmla="*/ 0 w 207"/>
                <a:gd name="T87" fmla="*/ 110 h 202"/>
                <a:gd name="T88" fmla="*/ 8 w 207"/>
                <a:gd name="T89" fmla="*/ 95 h 202"/>
                <a:gd name="T90" fmla="*/ 19 w 207"/>
                <a:gd name="T91" fmla="*/ 83 h 202"/>
                <a:gd name="T92" fmla="*/ 25 w 207"/>
                <a:gd name="T93" fmla="*/ 70 h 202"/>
                <a:gd name="T94" fmla="*/ 22 w 207"/>
                <a:gd name="T95" fmla="*/ 60 h 202"/>
                <a:gd name="T96" fmla="*/ 30 w 207"/>
                <a:gd name="T97" fmla="*/ 43 h 202"/>
                <a:gd name="T98" fmla="*/ 38 w 207"/>
                <a:gd name="T99" fmla="*/ 3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" h="202">
                  <a:moveTo>
                    <a:pt x="46" y="29"/>
                  </a:moveTo>
                  <a:cubicBezTo>
                    <a:pt x="47" y="32"/>
                    <a:pt x="49" y="34"/>
                    <a:pt x="50" y="36"/>
                  </a:cubicBezTo>
                  <a:cubicBezTo>
                    <a:pt x="52" y="41"/>
                    <a:pt x="55" y="42"/>
                    <a:pt x="59" y="40"/>
                  </a:cubicBezTo>
                  <a:cubicBezTo>
                    <a:pt x="64" y="39"/>
                    <a:pt x="68" y="34"/>
                    <a:pt x="66" y="31"/>
                  </a:cubicBezTo>
                  <a:cubicBezTo>
                    <a:pt x="64" y="28"/>
                    <a:pt x="59" y="29"/>
                    <a:pt x="60" y="22"/>
                  </a:cubicBezTo>
                  <a:cubicBezTo>
                    <a:pt x="62" y="16"/>
                    <a:pt x="62" y="11"/>
                    <a:pt x="62" y="9"/>
                  </a:cubicBezTo>
                  <a:cubicBezTo>
                    <a:pt x="61" y="8"/>
                    <a:pt x="66" y="5"/>
                    <a:pt x="69" y="7"/>
                  </a:cubicBezTo>
                  <a:cubicBezTo>
                    <a:pt x="73" y="8"/>
                    <a:pt x="75" y="0"/>
                    <a:pt x="77" y="8"/>
                  </a:cubicBezTo>
                  <a:cubicBezTo>
                    <a:pt x="79" y="15"/>
                    <a:pt x="78" y="21"/>
                    <a:pt x="79" y="24"/>
                  </a:cubicBezTo>
                  <a:cubicBezTo>
                    <a:pt x="80" y="27"/>
                    <a:pt x="84" y="30"/>
                    <a:pt x="84" y="34"/>
                  </a:cubicBezTo>
                  <a:cubicBezTo>
                    <a:pt x="85" y="39"/>
                    <a:pt x="89" y="44"/>
                    <a:pt x="90" y="44"/>
                  </a:cubicBezTo>
                  <a:cubicBezTo>
                    <a:pt x="91" y="45"/>
                    <a:pt x="99" y="50"/>
                    <a:pt x="100" y="43"/>
                  </a:cubicBezTo>
                  <a:cubicBezTo>
                    <a:pt x="102" y="37"/>
                    <a:pt x="101" y="32"/>
                    <a:pt x="104" y="27"/>
                  </a:cubicBezTo>
                  <a:cubicBezTo>
                    <a:pt x="106" y="21"/>
                    <a:pt x="104" y="20"/>
                    <a:pt x="109" y="20"/>
                  </a:cubicBezTo>
                  <a:cubicBezTo>
                    <a:pt x="115" y="20"/>
                    <a:pt x="123" y="20"/>
                    <a:pt x="127" y="20"/>
                  </a:cubicBezTo>
                  <a:cubicBezTo>
                    <a:pt x="131" y="21"/>
                    <a:pt x="136" y="22"/>
                    <a:pt x="138" y="20"/>
                  </a:cubicBezTo>
                  <a:cubicBezTo>
                    <a:pt x="141" y="19"/>
                    <a:pt x="146" y="15"/>
                    <a:pt x="150" y="18"/>
                  </a:cubicBezTo>
                  <a:cubicBezTo>
                    <a:pt x="154" y="22"/>
                    <a:pt x="157" y="27"/>
                    <a:pt x="158" y="30"/>
                  </a:cubicBezTo>
                  <a:cubicBezTo>
                    <a:pt x="159" y="33"/>
                    <a:pt x="157" y="35"/>
                    <a:pt x="157" y="38"/>
                  </a:cubicBezTo>
                  <a:cubicBezTo>
                    <a:pt x="158" y="40"/>
                    <a:pt x="162" y="38"/>
                    <a:pt x="166" y="34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172" y="54"/>
                    <a:pt x="172" y="54"/>
                    <a:pt x="172" y="54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82" y="69"/>
                    <a:pt x="182" y="69"/>
                    <a:pt x="182" y="69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195" y="96"/>
                    <a:pt x="195" y="96"/>
                    <a:pt x="195" y="9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198" y="112"/>
                    <a:pt x="198" y="112"/>
                    <a:pt x="198" y="112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38" y="130"/>
                    <a:pt x="138" y="130"/>
                    <a:pt x="138" y="130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1" y="144"/>
                    <a:pt x="141" y="144"/>
                    <a:pt x="141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13" y="202"/>
                    <a:pt x="113" y="202"/>
                    <a:pt x="113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5" y="178"/>
                    <a:pt x="85" y="178"/>
                    <a:pt x="85" y="178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35" y="143"/>
                    <a:pt x="35" y="143"/>
                    <a:pt x="35" y="143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46" y="2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1" name="Амурская обл.">
              <a:extLst>
                <a:ext uri="{FF2B5EF4-FFF2-40B4-BE49-F238E27FC236}">
                  <a16:creationId xmlns:a16="http://schemas.microsoft.com/office/drawing/2014/main" id="{ACD06B5B-D1C1-67A5-0CE3-3AA98DAB4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224" y="4511698"/>
              <a:ext cx="1532445" cy="901830"/>
            </a:xfrm>
            <a:custGeom>
              <a:avLst/>
              <a:gdLst>
                <a:gd name="T0" fmla="*/ 283 w 288"/>
                <a:gd name="T1" fmla="*/ 184 h 190"/>
                <a:gd name="T2" fmla="*/ 259 w 288"/>
                <a:gd name="T3" fmla="*/ 180 h 190"/>
                <a:gd name="T4" fmla="*/ 235 w 288"/>
                <a:gd name="T5" fmla="*/ 182 h 190"/>
                <a:gd name="T6" fmla="*/ 210 w 288"/>
                <a:gd name="T7" fmla="*/ 181 h 190"/>
                <a:gd name="T8" fmla="*/ 194 w 288"/>
                <a:gd name="T9" fmla="*/ 166 h 190"/>
                <a:gd name="T10" fmla="*/ 166 w 288"/>
                <a:gd name="T11" fmla="*/ 142 h 190"/>
                <a:gd name="T12" fmla="*/ 139 w 288"/>
                <a:gd name="T13" fmla="*/ 124 h 190"/>
                <a:gd name="T14" fmla="*/ 102 w 288"/>
                <a:gd name="T15" fmla="*/ 125 h 190"/>
                <a:gd name="T16" fmla="*/ 76 w 288"/>
                <a:gd name="T17" fmla="*/ 142 h 190"/>
                <a:gd name="T18" fmla="*/ 64 w 288"/>
                <a:gd name="T19" fmla="*/ 131 h 190"/>
                <a:gd name="T20" fmla="*/ 64 w 288"/>
                <a:gd name="T21" fmla="*/ 119 h 190"/>
                <a:gd name="T22" fmla="*/ 54 w 288"/>
                <a:gd name="T23" fmla="*/ 111 h 190"/>
                <a:gd name="T24" fmla="*/ 49 w 288"/>
                <a:gd name="T25" fmla="*/ 92 h 190"/>
                <a:gd name="T26" fmla="*/ 41 w 288"/>
                <a:gd name="T27" fmla="*/ 93 h 190"/>
                <a:gd name="T28" fmla="*/ 35 w 288"/>
                <a:gd name="T29" fmla="*/ 86 h 190"/>
                <a:gd name="T30" fmla="*/ 23 w 288"/>
                <a:gd name="T31" fmla="*/ 89 h 190"/>
                <a:gd name="T32" fmla="*/ 14 w 288"/>
                <a:gd name="T33" fmla="*/ 87 h 190"/>
                <a:gd name="T34" fmla="*/ 16 w 288"/>
                <a:gd name="T35" fmla="*/ 77 h 190"/>
                <a:gd name="T36" fmla="*/ 5 w 288"/>
                <a:gd name="T37" fmla="*/ 76 h 190"/>
                <a:gd name="T38" fmla="*/ 0 w 288"/>
                <a:gd name="T39" fmla="*/ 69 h 190"/>
                <a:gd name="T40" fmla="*/ 19 w 288"/>
                <a:gd name="T41" fmla="*/ 58 h 190"/>
                <a:gd name="T42" fmla="*/ 29 w 288"/>
                <a:gd name="T43" fmla="*/ 59 h 190"/>
                <a:gd name="T44" fmla="*/ 44 w 288"/>
                <a:gd name="T45" fmla="*/ 60 h 190"/>
                <a:gd name="T46" fmla="*/ 60 w 288"/>
                <a:gd name="T47" fmla="*/ 58 h 190"/>
                <a:gd name="T48" fmla="*/ 71 w 288"/>
                <a:gd name="T49" fmla="*/ 54 h 190"/>
                <a:gd name="T50" fmla="*/ 92 w 288"/>
                <a:gd name="T51" fmla="*/ 58 h 190"/>
                <a:gd name="T52" fmla="*/ 99 w 288"/>
                <a:gd name="T53" fmla="*/ 57 h 190"/>
                <a:gd name="T54" fmla="*/ 109 w 288"/>
                <a:gd name="T55" fmla="*/ 57 h 190"/>
                <a:gd name="T56" fmla="*/ 131 w 288"/>
                <a:gd name="T57" fmla="*/ 45 h 190"/>
                <a:gd name="T58" fmla="*/ 137 w 288"/>
                <a:gd name="T59" fmla="*/ 38 h 190"/>
                <a:gd name="T60" fmla="*/ 153 w 288"/>
                <a:gd name="T61" fmla="*/ 33 h 190"/>
                <a:gd name="T62" fmla="*/ 172 w 288"/>
                <a:gd name="T63" fmla="*/ 13 h 190"/>
                <a:gd name="T64" fmla="*/ 184 w 288"/>
                <a:gd name="T65" fmla="*/ 8 h 190"/>
                <a:gd name="T66" fmla="*/ 197 w 288"/>
                <a:gd name="T67" fmla="*/ 1 h 190"/>
                <a:gd name="T68" fmla="*/ 207 w 288"/>
                <a:gd name="T69" fmla="*/ 2 h 190"/>
                <a:gd name="T70" fmla="*/ 201 w 288"/>
                <a:gd name="T71" fmla="*/ 20 h 190"/>
                <a:gd name="T72" fmla="*/ 197 w 288"/>
                <a:gd name="T73" fmla="*/ 35 h 190"/>
                <a:gd name="T74" fmla="*/ 194 w 288"/>
                <a:gd name="T75" fmla="*/ 52 h 190"/>
                <a:gd name="T76" fmla="*/ 207 w 288"/>
                <a:gd name="T77" fmla="*/ 60 h 190"/>
                <a:gd name="T78" fmla="*/ 226 w 288"/>
                <a:gd name="T79" fmla="*/ 70 h 190"/>
                <a:gd name="T80" fmla="*/ 241 w 288"/>
                <a:gd name="T81" fmla="*/ 54 h 190"/>
                <a:gd name="T82" fmla="*/ 248 w 288"/>
                <a:gd name="T83" fmla="*/ 44 h 190"/>
                <a:gd name="T84" fmla="*/ 256 w 288"/>
                <a:gd name="T85" fmla="*/ 37 h 190"/>
                <a:gd name="T86" fmla="*/ 269 w 288"/>
                <a:gd name="T87" fmla="*/ 29 h 190"/>
                <a:gd name="T88" fmla="*/ 280 w 288"/>
                <a:gd name="T89" fmla="*/ 47 h 190"/>
                <a:gd name="T90" fmla="*/ 269 w 288"/>
                <a:gd name="T91" fmla="*/ 60 h 190"/>
                <a:gd name="T92" fmla="*/ 259 w 288"/>
                <a:gd name="T93" fmla="*/ 63 h 190"/>
                <a:gd name="T94" fmla="*/ 267 w 288"/>
                <a:gd name="T95" fmla="*/ 76 h 190"/>
                <a:gd name="T96" fmla="*/ 261 w 288"/>
                <a:gd name="T97" fmla="*/ 91 h 190"/>
                <a:gd name="T98" fmla="*/ 254 w 288"/>
                <a:gd name="T99" fmla="*/ 102 h 190"/>
                <a:gd name="T100" fmla="*/ 251 w 288"/>
                <a:gd name="T101" fmla="*/ 113 h 190"/>
                <a:gd name="T102" fmla="*/ 252 w 288"/>
                <a:gd name="T103" fmla="*/ 133 h 190"/>
                <a:gd name="T104" fmla="*/ 264 w 288"/>
                <a:gd name="T105" fmla="*/ 143 h 190"/>
                <a:gd name="T106" fmla="*/ 274 w 288"/>
                <a:gd name="T107" fmla="*/ 141 h 190"/>
                <a:gd name="T108" fmla="*/ 279 w 288"/>
                <a:gd name="T109" fmla="*/ 151 h 190"/>
                <a:gd name="T110" fmla="*/ 288 w 288"/>
                <a:gd name="T111" fmla="*/ 158 h 190"/>
                <a:gd name="T112" fmla="*/ 284 w 288"/>
                <a:gd name="T113" fmla="*/ 170 h 190"/>
                <a:gd name="T114" fmla="*/ 284 w 288"/>
                <a:gd name="T115" fmla="*/ 18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" h="190">
                  <a:moveTo>
                    <a:pt x="284" y="186"/>
                  </a:moveTo>
                  <a:cubicBezTo>
                    <a:pt x="283" y="185"/>
                    <a:pt x="283" y="185"/>
                    <a:pt x="283" y="184"/>
                  </a:cubicBezTo>
                  <a:cubicBezTo>
                    <a:pt x="282" y="180"/>
                    <a:pt x="278" y="179"/>
                    <a:pt x="277" y="182"/>
                  </a:cubicBezTo>
                  <a:cubicBezTo>
                    <a:pt x="275" y="186"/>
                    <a:pt x="264" y="185"/>
                    <a:pt x="259" y="180"/>
                  </a:cubicBezTo>
                  <a:cubicBezTo>
                    <a:pt x="254" y="175"/>
                    <a:pt x="252" y="178"/>
                    <a:pt x="247" y="182"/>
                  </a:cubicBezTo>
                  <a:cubicBezTo>
                    <a:pt x="242" y="186"/>
                    <a:pt x="239" y="178"/>
                    <a:pt x="235" y="182"/>
                  </a:cubicBezTo>
                  <a:cubicBezTo>
                    <a:pt x="231" y="185"/>
                    <a:pt x="226" y="190"/>
                    <a:pt x="222" y="190"/>
                  </a:cubicBezTo>
                  <a:cubicBezTo>
                    <a:pt x="218" y="189"/>
                    <a:pt x="214" y="188"/>
                    <a:pt x="210" y="181"/>
                  </a:cubicBezTo>
                  <a:cubicBezTo>
                    <a:pt x="207" y="174"/>
                    <a:pt x="205" y="180"/>
                    <a:pt x="204" y="177"/>
                  </a:cubicBezTo>
                  <a:cubicBezTo>
                    <a:pt x="203" y="174"/>
                    <a:pt x="196" y="167"/>
                    <a:pt x="194" y="166"/>
                  </a:cubicBezTo>
                  <a:cubicBezTo>
                    <a:pt x="191" y="165"/>
                    <a:pt x="184" y="158"/>
                    <a:pt x="181" y="155"/>
                  </a:cubicBezTo>
                  <a:cubicBezTo>
                    <a:pt x="179" y="152"/>
                    <a:pt x="167" y="145"/>
                    <a:pt x="166" y="142"/>
                  </a:cubicBezTo>
                  <a:cubicBezTo>
                    <a:pt x="165" y="139"/>
                    <a:pt x="155" y="137"/>
                    <a:pt x="153" y="132"/>
                  </a:cubicBezTo>
                  <a:cubicBezTo>
                    <a:pt x="151" y="127"/>
                    <a:pt x="142" y="126"/>
                    <a:pt x="139" y="124"/>
                  </a:cubicBezTo>
                  <a:cubicBezTo>
                    <a:pt x="136" y="121"/>
                    <a:pt x="124" y="124"/>
                    <a:pt x="119" y="127"/>
                  </a:cubicBezTo>
                  <a:cubicBezTo>
                    <a:pt x="114" y="131"/>
                    <a:pt x="107" y="127"/>
                    <a:pt x="102" y="125"/>
                  </a:cubicBezTo>
                  <a:cubicBezTo>
                    <a:pt x="96" y="124"/>
                    <a:pt x="93" y="131"/>
                    <a:pt x="88" y="134"/>
                  </a:cubicBezTo>
                  <a:cubicBezTo>
                    <a:pt x="84" y="137"/>
                    <a:pt x="80" y="139"/>
                    <a:pt x="76" y="142"/>
                  </a:cubicBezTo>
                  <a:cubicBezTo>
                    <a:pt x="71" y="133"/>
                    <a:pt x="71" y="133"/>
                    <a:pt x="71" y="133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4" y="16"/>
                    <a:pt x="204" y="16"/>
                    <a:pt x="204" y="16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30"/>
                    <a:pt x="202" y="30"/>
                    <a:pt x="202" y="30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4" y="52"/>
                    <a:pt x="194" y="52"/>
                    <a:pt x="194" y="52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41" y="54"/>
                    <a:pt x="241" y="54"/>
                    <a:pt x="241" y="54"/>
                  </a:cubicBezTo>
                  <a:cubicBezTo>
                    <a:pt x="247" y="53"/>
                    <a:pt x="247" y="53"/>
                    <a:pt x="247" y="53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61" y="29"/>
                    <a:pt x="261" y="29"/>
                    <a:pt x="26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80" y="47"/>
                    <a:pt x="280" y="47"/>
                    <a:pt x="280" y="47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69" y="60"/>
                    <a:pt x="269" y="60"/>
                    <a:pt x="269" y="60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4" y="96"/>
                    <a:pt x="254" y="96"/>
                    <a:pt x="254" y="96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49" y="121"/>
                    <a:pt x="249" y="121"/>
                    <a:pt x="249" y="121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60" y="137"/>
                    <a:pt x="260" y="137"/>
                    <a:pt x="260" y="137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9" y="139"/>
                    <a:pt x="269" y="139"/>
                    <a:pt x="269" y="139"/>
                  </a:cubicBezTo>
                  <a:cubicBezTo>
                    <a:pt x="274" y="141"/>
                    <a:pt x="274" y="141"/>
                    <a:pt x="274" y="141"/>
                  </a:cubicBezTo>
                  <a:cubicBezTo>
                    <a:pt x="275" y="146"/>
                    <a:pt x="275" y="146"/>
                    <a:pt x="275" y="146"/>
                  </a:cubicBezTo>
                  <a:cubicBezTo>
                    <a:pt x="279" y="151"/>
                    <a:pt x="279" y="151"/>
                    <a:pt x="279" y="151"/>
                  </a:cubicBezTo>
                  <a:cubicBezTo>
                    <a:pt x="281" y="156"/>
                    <a:pt x="281" y="156"/>
                    <a:pt x="281" y="156"/>
                  </a:cubicBezTo>
                  <a:cubicBezTo>
                    <a:pt x="288" y="158"/>
                    <a:pt x="288" y="158"/>
                    <a:pt x="288" y="158"/>
                  </a:cubicBezTo>
                  <a:cubicBezTo>
                    <a:pt x="287" y="167"/>
                    <a:pt x="287" y="167"/>
                    <a:pt x="287" y="167"/>
                  </a:cubicBezTo>
                  <a:cubicBezTo>
                    <a:pt x="287" y="167"/>
                    <a:pt x="284" y="169"/>
                    <a:pt x="284" y="170"/>
                  </a:cubicBezTo>
                  <a:cubicBezTo>
                    <a:pt x="284" y="170"/>
                    <a:pt x="284" y="179"/>
                    <a:pt x="284" y="179"/>
                  </a:cubicBezTo>
                  <a:lnTo>
                    <a:pt x="284" y="186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2" name="Хабаровский край">
              <a:extLst>
                <a:ext uri="{FF2B5EF4-FFF2-40B4-BE49-F238E27FC236}">
                  <a16:creationId xmlns:a16="http://schemas.microsoft.com/office/drawing/2014/main" id="{9C1A1BA7-D55C-90A6-0CE9-64FB42FA1F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5554" y="3202224"/>
              <a:ext cx="1570756" cy="2236354"/>
            </a:xfrm>
            <a:custGeom>
              <a:avLst/>
              <a:gdLst>
                <a:gd name="T0" fmla="*/ 137 w 295"/>
                <a:gd name="T1" fmla="*/ 58 h 471"/>
                <a:gd name="T2" fmla="*/ 112 w 295"/>
                <a:gd name="T3" fmla="*/ 142 h 471"/>
                <a:gd name="T4" fmla="*/ 102 w 295"/>
                <a:gd name="T5" fmla="*/ 255 h 471"/>
                <a:gd name="T6" fmla="*/ 142 w 295"/>
                <a:gd name="T7" fmla="*/ 260 h 471"/>
                <a:gd name="T8" fmla="*/ 154 w 295"/>
                <a:gd name="T9" fmla="*/ 271 h 471"/>
                <a:gd name="T10" fmla="*/ 161 w 295"/>
                <a:gd name="T11" fmla="*/ 237 h 471"/>
                <a:gd name="T12" fmla="*/ 215 w 295"/>
                <a:gd name="T13" fmla="*/ 233 h 471"/>
                <a:gd name="T14" fmla="*/ 234 w 295"/>
                <a:gd name="T15" fmla="*/ 256 h 471"/>
                <a:gd name="T16" fmla="*/ 253 w 295"/>
                <a:gd name="T17" fmla="*/ 301 h 471"/>
                <a:gd name="T18" fmla="*/ 293 w 295"/>
                <a:gd name="T19" fmla="*/ 358 h 471"/>
                <a:gd name="T20" fmla="*/ 284 w 295"/>
                <a:gd name="T21" fmla="*/ 394 h 471"/>
                <a:gd name="T22" fmla="*/ 265 w 295"/>
                <a:gd name="T23" fmla="*/ 380 h 471"/>
                <a:gd name="T24" fmla="*/ 262 w 295"/>
                <a:gd name="T25" fmla="*/ 400 h 471"/>
                <a:gd name="T26" fmla="*/ 277 w 295"/>
                <a:gd name="T27" fmla="*/ 400 h 471"/>
                <a:gd name="T28" fmla="*/ 266 w 295"/>
                <a:gd name="T29" fmla="*/ 429 h 471"/>
                <a:gd name="T30" fmla="*/ 259 w 295"/>
                <a:gd name="T31" fmla="*/ 449 h 471"/>
                <a:gd name="T32" fmla="*/ 234 w 295"/>
                <a:gd name="T33" fmla="*/ 452 h 471"/>
                <a:gd name="T34" fmla="*/ 224 w 295"/>
                <a:gd name="T35" fmla="*/ 465 h 471"/>
                <a:gd name="T36" fmla="*/ 216 w 295"/>
                <a:gd name="T37" fmla="*/ 436 h 471"/>
                <a:gd name="T38" fmla="*/ 196 w 295"/>
                <a:gd name="T39" fmla="*/ 417 h 471"/>
                <a:gd name="T40" fmla="*/ 171 w 295"/>
                <a:gd name="T41" fmla="*/ 424 h 471"/>
                <a:gd name="T42" fmla="*/ 148 w 295"/>
                <a:gd name="T43" fmla="*/ 442 h 471"/>
                <a:gd name="T44" fmla="*/ 134 w 295"/>
                <a:gd name="T45" fmla="*/ 427 h 471"/>
                <a:gd name="T46" fmla="*/ 119 w 295"/>
                <a:gd name="T47" fmla="*/ 419 h 471"/>
                <a:gd name="T48" fmla="*/ 106 w 295"/>
                <a:gd name="T49" fmla="*/ 389 h 471"/>
                <a:gd name="T50" fmla="*/ 116 w 295"/>
                <a:gd name="T51" fmla="*/ 367 h 471"/>
                <a:gd name="T52" fmla="*/ 114 w 295"/>
                <a:gd name="T53" fmla="*/ 339 h 471"/>
                <a:gd name="T54" fmla="*/ 135 w 295"/>
                <a:gd name="T55" fmla="*/ 323 h 471"/>
                <a:gd name="T56" fmla="*/ 111 w 295"/>
                <a:gd name="T57" fmla="*/ 313 h 471"/>
                <a:gd name="T58" fmla="*/ 96 w 295"/>
                <a:gd name="T59" fmla="*/ 330 h 471"/>
                <a:gd name="T60" fmla="*/ 62 w 295"/>
                <a:gd name="T61" fmla="*/ 336 h 471"/>
                <a:gd name="T62" fmla="*/ 52 w 295"/>
                <a:gd name="T63" fmla="*/ 311 h 471"/>
                <a:gd name="T64" fmla="*/ 62 w 295"/>
                <a:gd name="T65" fmla="*/ 278 h 471"/>
                <a:gd name="T66" fmla="*/ 39 w 295"/>
                <a:gd name="T67" fmla="*/ 284 h 471"/>
                <a:gd name="T68" fmla="*/ 26 w 295"/>
                <a:gd name="T69" fmla="*/ 273 h 471"/>
                <a:gd name="T70" fmla="*/ 18 w 295"/>
                <a:gd name="T71" fmla="*/ 251 h 471"/>
                <a:gd name="T72" fmla="*/ 10 w 295"/>
                <a:gd name="T73" fmla="*/ 238 h 471"/>
                <a:gd name="T74" fmla="*/ 6 w 295"/>
                <a:gd name="T75" fmla="*/ 221 h 471"/>
                <a:gd name="T76" fmla="*/ 0 w 295"/>
                <a:gd name="T77" fmla="*/ 196 h 471"/>
                <a:gd name="T78" fmla="*/ 10 w 295"/>
                <a:gd name="T79" fmla="*/ 174 h 471"/>
                <a:gd name="T80" fmla="*/ 26 w 295"/>
                <a:gd name="T81" fmla="*/ 158 h 471"/>
                <a:gd name="T82" fmla="*/ 43 w 295"/>
                <a:gd name="T83" fmla="*/ 129 h 471"/>
                <a:gd name="T84" fmla="*/ 38 w 295"/>
                <a:gd name="T85" fmla="*/ 105 h 471"/>
                <a:gd name="T86" fmla="*/ 32 w 295"/>
                <a:gd name="T87" fmla="*/ 75 h 471"/>
                <a:gd name="T88" fmla="*/ 24 w 295"/>
                <a:gd name="T89" fmla="*/ 36 h 471"/>
                <a:gd name="T90" fmla="*/ 57 w 295"/>
                <a:gd name="T91" fmla="*/ 32 h 471"/>
                <a:gd name="T92" fmla="*/ 74 w 295"/>
                <a:gd name="T93" fmla="*/ 9 h 471"/>
                <a:gd name="T94" fmla="*/ 119 w 295"/>
                <a:gd name="T95" fmla="*/ 11 h 471"/>
                <a:gd name="T96" fmla="*/ 116 w 295"/>
                <a:gd name="T97" fmla="*/ 30 h 471"/>
                <a:gd name="T98" fmla="*/ 142 w 295"/>
                <a:gd name="T99" fmla="*/ 35 h 471"/>
                <a:gd name="T100" fmla="*/ 130 w 295"/>
                <a:gd name="T101" fmla="*/ 24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71">
                  <a:moveTo>
                    <a:pt x="152" y="42"/>
                  </a:moveTo>
                  <a:cubicBezTo>
                    <a:pt x="149" y="44"/>
                    <a:pt x="147" y="45"/>
                    <a:pt x="148" y="47"/>
                  </a:cubicBezTo>
                  <a:cubicBezTo>
                    <a:pt x="149" y="50"/>
                    <a:pt x="153" y="53"/>
                    <a:pt x="149" y="55"/>
                  </a:cubicBezTo>
                  <a:cubicBezTo>
                    <a:pt x="144" y="56"/>
                    <a:pt x="141" y="56"/>
                    <a:pt x="137" y="58"/>
                  </a:cubicBezTo>
                  <a:cubicBezTo>
                    <a:pt x="134" y="60"/>
                    <a:pt x="117" y="73"/>
                    <a:pt x="111" y="84"/>
                  </a:cubicBezTo>
                  <a:cubicBezTo>
                    <a:pt x="106" y="95"/>
                    <a:pt x="106" y="100"/>
                    <a:pt x="108" y="106"/>
                  </a:cubicBezTo>
                  <a:cubicBezTo>
                    <a:pt x="110" y="112"/>
                    <a:pt x="110" y="120"/>
                    <a:pt x="108" y="124"/>
                  </a:cubicBezTo>
                  <a:cubicBezTo>
                    <a:pt x="106" y="128"/>
                    <a:pt x="115" y="136"/>
                    <a:pt x="112" y="142"/>
                  </a:cubicBezTo>
                  <a:cubicBezTo>
                    <a:pt x="110" y="149"/>
                    <a:pt x="112" y="164"/>
                    <a:pt x="112" y="171"/>
                  </a:cubicBezTo>
                  <a:cubicBezTo>
                    <a:pt x="112" y="178"/>
                    <a:pt x="111" y="196"/>
                    <a:pt x="112" y="205"/>
                  </a:cubicBezTo>
                  <a:cubicBezTo>
                    <a:pt x="114" y="215"/>
                    <a:pt x="105" y="225"/>
                    <a:pt x="104" y="234"/>
                  </a:cubicBezTo>
                  <a:cubicBezTo>
                    <a:pt x="102" y="243"/>
                    <a:pt x="106" y="250"/>
                    <a:pt x="102" y="255"/>
                  </a:cubicBezTo>
                  <a:cubicBezTo>
                    <a:pt x="98" y="260"/>
                    <a:pt x="108" y="272"/>
                    <a:pt x="118" y="261"/>
                  </a:cubicBezTo>
                  <a:cubicBezTo>
                    <a:pt x="128" y="251"/>
                    <a:pt x="129" y="249"/>
                    <a:pt x="133" y="259"/>
                  </a:cubicBezTo>
                  <a:cubicBezTo>
                    <a:pt x="137" y="269"/>
                    <a:pt x="142" y="272"/>
                    <a:pt x="144" y="268"/>
                  </a:cubicBezTo>
                  <a:cubicBezTo>
                    <a:pt x="145" y="264"/>
                    <a:pt x="146" y="265"/>
                    <a:pt x="142" y="260"/>
                  </a:cubicBezTo>
                  <a:cubicBezTo>
                    <a:pt x="139" y="256"/>
                    <a:pt x="140" y="248"/>
                    <a:pt x="143" y="253"/>
                  </a:cubicBezTo>
                  <a:cubicBezTo>
                    <a:pt x="147" y="258"/>
                    <a:pt x="149" y="260"/>
                    <a:pt x="150" y="259"/>
                  </a:cubicBezTo>
                  <a:cubicBezTo>
                    <a:pt x="151" y="258"/>
                    <a:pt x="155" y="256"/>
                    <a:pt x="155" y="260"/>
                  </a:cubicBezTo>
                  <a:cubicBezTo>
                    <a:pt x="155" y="263"/>
                    <a:pt x="151" y="270"/>
                    <a:pt x="154" y="271"/>
                  </a:cubicBezTo>
                  <a:cubicBezTo>
                    <a:pt x="156" y="272"/>
                    <a:pt x="164" y="265"/>
                    <a:pt x="163" y="262"/>
                  </a:cubicBezTo>
                  <a:cubicBezTo>
                    <a:pt x="163" y="260"/>
                    <a:pt x="163" y="257"/>
                    <a:pt x="164" y="254"/>
                  </a:cubicBezTo>
                  <a:cubicBezTo>
                    <a:pt x="165" y="252"/>
                    <a:pt x="164" y="246"/>
                    <a:pt x="160" y="244"/>
                  </a:cubicBezTo>
                  <a:cubicBezTo>
                    <a:pt x="157" y="241"/>
                    <a:pt x="158" y="238"/>
                    <a:pt x="161" y="237"/>
                  </a:cubicBezTo>
                  <a:cubicBezTo>
                    <a:pt x="164" y="237"/>
                    <a:pt x="170" y="234"/>
                    <a:pt x="170" y="232"/>
                  </a:cubicBezTo>
                  <a:cubicBezTo>
                    <a:pt x="171" y="230"/>
                    <a:pt x="178" y="227"/>
                    <a:pt x="183" y="229"/>
                  </a:cubicBezTo>
                  <a:cubicBezTo>
                    <a:pt x="188" y="231"/>
                    <a:pt x="191" y="232"/>
                    <a:pt x="197" y="232"/>
                  </a:cubicBezTo>
                  <a:cubicBezTo>
                    <a:pt x="203" y="231"/>
                    <a:pt x="215" y="229"/>
                    <a:pt x="215" y="233"/>
                  </a:cubicBezTo>
                  <a:cubicBezTo>
                    <a:pt x="215" y="237"/>
                    <a:pt x="217" y="240"/>
                    <a:pt x="215" y="241"/>
                  </a:cubicBezTo>
                  <a:cubicBezTo>
                    <a:pt x="214" y="243"/>
                    <a:pt x="222" y="246"/>
                    <a:pt x="225" y="247"/>
                  </a:cubicBezTo>
                  <a:cubicBezTo>
                    <a:pt x="228" y="248"/>
                    <a:pt x="229" y="250"/>
                    <a:pt x="230" y="252"/>
                  </a:cubicBezTo>
                  <a:cubicBezTo>
                    <a:pt x="231" y="255"/>
                    <a:pt x="233" y="254"/>
                    <a:pt x="234" y="256"/>
                  </a:cubicBezTo>
                  <a:cubicBezTo>
                    <a:pt x="236" y="257"/>
                    <a:pt x="238" y="254"/>
                    <a:pt x="239" y="260"/>
                  </a:cubicBezTo>
                  <a:cubicBezTo>
                    <a:pt x="240" y="266"/>
                    <a:pt x="241" y="267"/>
                    <a:pt x="241" y="272"/>
                  </a:cubicBezTo>
                  <a:cubicBezTo>
                    <a:pt x="242" y="276"/>
                    <a:pt x="244" y="280"/>
                    <a:pt x="244" y="281"/>
                  </a:cubicBezTo>
                  <a:cubicBezTo>
                    <a:pt x="244" y="282"/>
                    <a:pt x="248" y="295"/>
                    <a:pt x="253" y="301"/>
                  </a:cubicBezTo>
                  <a:cubicBezTo>
                    <a:pt x="259" y="308"/>
                    <a:pt x="266" y="307"/>
                    <a:pt x="268" y="313"/>
                  </a:cubicBezTo>
                  <a:cubicBezTo>
                    <a:pt x="269" y="319"/>
                    <a:pt x="271" y="318"/>
                    <a:pt x="273" y="322"/>
                  </a:cubicBezTo>
                  <a:cubicBezTo>
                    <a:pt x="275" y="325"/>
                    <a:pt x="276" y="328"/>
                    <a:pt x="279" y="334"/>
                  </a:cubicBezTo>
                  <a:cubicBezTo>
                    <a:pt x="281" y="340"/>
                    <a:pt x="292" y="353"/>
                    <a:pt x="293" y="358"/>
                  </a:cubicBezTo>
                  <a:cubicBezTo>
                    <a:pt x="293" y="362"/>
                    <a:pt x="289" y="370"/>
                    <a:pt x="291" y="380"/>
                  </a:cubicBezTo>
                  <a:cubicBezTo>
                    <a:pt x="292" y="390"/>
                    <a:pt x="293" y="388"/>
                    <a:pt x="295" y="396"/>
                  </a:cubicBezTo>
                  <a:cubicBezTo>
                    <a:pt x="290" y="399"/>
                    <a:pt x="290" y="399"/>
                    <a:pt x="290" y="399"/>
                  </a:cubicBezTo>
                  <a:cubicBezTo>
                    <a:pt x="284" y="394"/>
                    <a:pt x="284" y="394"/>
                    <a:pt x="284" y="394"/>
                  </a:cubicBezTo>
                  <a:cubicBezTo>
                    <a:pt x="285" y="388"/>
                    <a:pt x="285" y="388"/>
                    <a:pt x="285" y="388"/>
                  </a:cubicBezTo>
                  <a:cubicBezTo>
                    <a:pt x="277" y="385"/>
                    <a:pt x="277" y="385"/>
                    <a:pt x="277" y="385"/>
                  </a:cubicBezTo>
                  <a:cubicBezTo>
                    <a:pt x="269" y="379"/>
                    <a:pt x="269" y="379"/>
                    <a:pt x="269" y="379"/>
                  </a:cubicBezTo>
                  <a:cubicBezTo>
                    <a:pt x="265" y="380"/>
                    <a:pt x="265" y="380"/>
                    <a:pt x="265" y="380"/>
                  </a:cubicBezTo>
                  <a:cubicBezTo>
                    <a:pt x="264" y="390"/>
                    <a:pt x="264" y="390"/>
                    <a:pt x="264" y="390"/>
                  </a:cubicBezTo>
                  <a:cubicBezTo>
                    <a:pt x="256" y="395"/>
                    <a:pt x="256" y="395"/>
                    <a:pt x="256" y="39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2" y="400"/>
                    <a:pt x="262" y="400"/>
                    <a:pt x="262" y="40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71" y="405"/>
                    <a:pt x="271" y="405"/>
                    <a:pt x="271" y="405"/>
                  </a:cubicBezTo>
                  <a:cubicBezTo>
                    <a:pt x="274" y="401"/>
                    <a:pt x="274" y="401"/>
                    <a:pt x="274" y="401"/>
                  </a:cubicBezTo>
                  <a:cubicBezTo>
                    <a:pt x="277" y="400"/>
                    <a:pt x="277" y="400"/>
                    <a:pt x="277" y="400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77" y="418"/>
                    <a:pt x="277" y="418"/>
                    <a:pt x="277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6" y="429"/>
                    <a:pt x="266" y="429"/>
                    <a:pt x="266" y="429"/>
                  </a:cubicBezTo>
                  <a:cubicBezTo>
                    <a:pt x="268" y="430"/>
                    <a:pt x="268" y="430"/>
                    <a:pt x="268" y="430"/>
                  </a:cubicBezTo>
                  <a:cubicBezTo>
                    <a:pt x="270" y="439"/>
                    <a:pt x="270" y="439"/>
                    <a:pt x="270" y="439"/>
                  </a:cubicBezTo>
                  <a:cubicBezTo>
                    <a:pt x="263" y="446"/>
                    <a:pt x="263" y="446"/>
                    <a:pt x="263" y="446"/>
                  </a:cubicBezTo>
                  <a:cubicBezTo>
                    <a:pt x="259" y="449"/>
                    <a:pt x="259" y="449"/>
                    <a:pt x="259" y="449"/>
                  </a:cubicBezTo>
                  <a:cubicBezTo>
                    <a:pt x="254" y="447"/>
                    <a:pt x="254" y="447"/>
                    <a:pt x="254" y="447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4" y="452"/>
                    <a:pt x="234" y="452"/>
                    <a:pt x="234" y="452"/>
                  </a:cubicBezTo>
                  <a:cubicBezTo>
                    <a:pt x="231" y="461"/>
                    <a:pt x="231" y="461"/>
                    <a:pt x="231" y="461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26" y="471"/>
                    <a:pt x="226" y="471"/>
                    <a:pt x="226" y="471"/>
                  </a:cubicBezTo>
                  <a:cubicBezTo>
                    <a:pt x="225" y="470"/>
                    <a:pt x="225" y="467"/>
                    <a:pt x="224" y="465"/>
                  </a:cubicBezTo>
                  <a:cubicBezTo>
                    <a:pt x="222" y="459"/>
                    <a:pt x="224" y="460"/>
                    <a:pt x="221" y="454"/>
                  </a:cubicBezTo>
                  <a:cubicBezTo>
                    <a:pt x="218" y="449"/>
                    <a:pt x="221" y="450"/>
                    <a:pt x="222" y="445"/>
                  </a:cubicBezTo>
                  <a:cubicBezTo>
                    <a:pt x="222" y="439"/>
                    <a:pt x="222" y="436"/>
                    <a:pt x="218" y="436"/>
                  </a:cubicBezTo>
                  <a:cubicBezTo>
                    <a:pt x="217" y="436"/>
                    <a:pt x="217" y="436"/>
                    <a:pt x="216" y="436"/>
                  </a:cubicBezTo>
                  <a:cubicBezTo>
                    <a:pt x="217" y="410"/>
                    <a:pt x="217" y="410"/>
                    <a:pt x="217" y="410"/>
                  </a:cubicBezTo>
                  <a:cubicBezTo>
                    <a:pt x="214" y="409"/>
                    <a:pt x="214" y="409"/>
                    <a:pt x="214" y="409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196" y="417"/>
                    <a:pt x="196" y="417"/>
                    <a:pt x="196" y="417"/>
                  </a:cubicBezTo>
                  <a:cubicBezTo>
                    <a:pt x="191" y="424"/>
                    <a:pt x="191" y="424"/>
                    <a:pt x="191" y="424"/>
                  </a:cubicBezTo>
                  <a:cubicBezTo>
                    <a:pt x="186" y="425"/>
                    <a:pt x="186" y="425"/>
                    <a:pt x="186" y="425"/>
                  </a:cubicBezTo>
                  <a:cubicBezTo>
                    <a:pt x="180" y="429"/>
                    <a:pt x="180" y="429"/>
                    <a:pt x="180" y="429"/>
                  </a:cubicBezTo>
                  <a:cubicBezTo>
                    <a:pt x="171" y="424"/>
                    <a:pt x="171" y="424"/>
                    <a:pt x="171" y="424"/>
                  </a:cubicBezTo>
                  <a:cubicBezTo>
                    <a:pt x="165" y="427"/>
                    <a:pt x="165" y="427"/>
                    <a:pt x="165" y="427"/>
                  </a:cubicBezTo>
                  <a:cubicBezTo>
                    <a:pt x="154" y="426"/>
                    <a:pt x="154" y="426"/>
                    <a:pt x="154" y="426"/>
                  </a:cubicBezTo>
                  <a:cubicBezTo>
                    <a:pt x="154" y="436"/>
                    <a:pt x="154" y="436"/>
                    <a:pt x="154" y="436"/>
                  </a:cubicBezTo>
                  <a:cubicBezTo>
                    <a:pt x="148" y="442"/>
                    <a:pt x="148" y="442"/>
                    <a:pt x="148" y="442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43" y="434"/>
                    <a:pt x="143" y="434"/>
                    <a:pt x="143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4" y="427"/>
                    <a:pt x="134" y="427"/>
                    <a:pt x="134" y="427"/>
                  </a:cubicBezTo>
                  <a:cubicBezTo>
                    <a:pt x="130" y="422"/>
                    <a:pt x="130" y="422"/>
                    <a:pt x="130" y="422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4" y="415"/>
                    <a:pt x="124" y="415"/>
                    <a:pt x="124" y="415"/>
                  </a:cubicBezTo>
                  <a:cubicBezTo>
                    <a:pt x="119" y="419"/>
                    <a:pt x="119" y="419"/>
                    <a:pt x="119" y="419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4" y="383"/>
                    <a:pt x="104" y="383"/>
                    <a:pt x="104" y="383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2"/>
                    <a:pt x="109" y="372"/>
                    <a:pt x="109" y="372"/>
                  </a:cubicBezTo>
                  <a:cubicBezTo>
                    <a:pt x="116" y="367"/>
                    <a:pt x="116" y="367"/>
                    <a:pt x="116" y="367"/>
                  </a:cubicBezTo>
                  <a:cubicBezTo>
                    <a:pt x="115" y="356"/>
                    <a:pt x="115" y="356"/>
                    <a:pt x="115" y="356"/>
                  </a:cubicBezTo>
                  <a:cubicBezTo>
                    <a:pt x="122" y="352"/>
                    <a:pt x="122" y="352"/>
                    <a:pt x="122" y="352"/>
                  </a:cubicBezTo>
                  <a:cubicBezTo>
                    <a:pt x="122" y="347"/>
                    <a:pt x="122" y="347"/>
                    <a:pt x="122" y="347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7" y="335"/>
                    <a:pt x="117" y="335"/>
                    <a:pt x="117" y="335"/>
                  </a:cubicBezTo>
                  <a:cubicBezTo>
                    <a:pt x="124" y="336"/>
                    <a:pt x="124" y="336"/>
                    <a:pt x="124" y="336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0" y="314"/>
                    <a:pt x="130" y="314"/>
                    <a:pt x="130" y="314"/>
                  </a:cubicBezTo>
                  <a:cubicBezTo>
                    <a:pt x="124" y="305"/>
                    <a:pt x="124" y="305"/>
                    <a:pt x="124" y="305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11" y="313"/>
                    <a:pt x="111" y="313"/>
                    <a:pt x="111" y="313"/>
                  </a:cubicBezTo>
                  <a:cubicBezTo>
                    <a:pt x="106" y="314"/>
                    <a:pt x="106" y="314"/>
                    <a:pt x="106" y="314"/>
                  </a:cubicBezTo>
                  <a:cubicBezTo>
                    <a:pt x="103" y="320"/>
                    <a:pt x="103" y="320"/>
                    <a:pt x="103" y="320"/>
                  </a:cubicBezTo>
                  <a:cubicBezTo>
                    <a:pt x="102" y="329"/>
                    <a:pt x="102" y="329"/>
                    <a:pt x="102" y="329"/>
                  </a:cubicBezTo>
                  <a:cubicBezTo>
                    <a:pt x="96" y="330"/>
                    <a:pt x="96" y="330"/>
                    <a:pt x="96" y="330"/>
                  </a:cubicBezTo>
                  <a:cubicBezTo>
                    <a:pt x="88" y="341"/>
                    <a:pt x="88" y="341"/>
                    <a:pt x="88" y="341"/>
                  </a:cubicBezTo>
                  <a:cubicBezTo>
                    <a:pt x="81" y="346"/>
                    <a:pt x="81" y="346"/>
                    <a:pt x="81" y="346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54" y="334"/>
                    <a:pt x="54" y="334"/>
                    <a:pt x="54" y="334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56" y="318"/>
                    <a:pt x="56" y="318"/>
                    <a:pt x="56" y="318"/>
                  </a:cubicBezTo>
                  <a:cubicBezTo>
                    <a:pt x="52" y="311"/>
                    <a:pt x="52" y="311"/>
                    <a:pt x="52" y="311"/>
                  </a:cubicBezTo>
                  <a:cubicBezTo>
                    <a:pt x="57" y="306"/>
                    <a:pt x="57" y="306"/>
                    <a:pt x="57" y="306"/>
                  </a:cubicBezTo>
                  <a:cubicBezTo>
                    <a:pt x="56" y="296"/>
                    <a:pt x="56" y="296"/>
                    <a:pt x="56" y="296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2" y="278"/>
                    <a:pt x="62" y="278"/>
                    <a:pt x="62" y="278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52" y="277"/>
                    <a:pt x="52" y="277"/>
                    <a:pt x="52" y="277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3" y="288"/>
                    <a:pt x="33" y="288"/>
                    <a:pt x="33" y="288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5" y="282"/>
                    <a:pt x="25" y="282"/>
                    <a:pt x="25" y="282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7" y="263"/>
                    <a:pt x="27" y="263"/>
                    <a:pt x="27" y="263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8" y="253"/>
                    <a:pt x="8" y="253"/>
                    <a:pt x="8" y="253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13" y="243"/>
                    <a:pt x="13" y="243"/>
                    <a:pt x="13" y="243"/>
                  </a:cubicBezTo>
                  <a:cubicBezTo>
                    <a:pt x="10" y="238"/>
                    <a:pt x="10" y="238"/>
                    <a:pt x="10" y="238"/>
                  </a:cubicBezTo>
                  <a:cubicBezTo>
                    <a:pt x="13" y="229"/>
                    <a:pt x="13" y="229"/>
                    <a:pt x="13" y="229"/>
                  </a:cubicBezTo>
                  <a:cubicBezTo>
                    <a:pt x="7" y="228"/>
                    <a:pt x="7" y="228"/>
                    <a:pt x="7" y="228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6" y="213"/>
                    <a:pt x="6" y="213"/>
                    <a:pt x="6" y="213"/>
                  </a:cubicBezTo>
                  <a:cubicBezTo>
                    <a:pt x="1" y="206"/>
                    <a:pt x="1" y="206"/>
                    <a:pt x="1" y="206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" y="191"/>
                    <a:pt x="4" y="191"/>
                    <a:pt x="4" y="191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2" y="180"/>
                    <a:pt x="2" y="180"/>
                    <a:pt x="2" y="180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44" y="143"/>
                    <a:pt x="44" y="143"/>
                    <a:pt x="44" y="143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2" y="42"/>
                    <a:pt x="152" y="42"/>
                    <a:pt x="152" y="42"/>
                  </a:cubicBezTo>
                  <a:close/>
                  <a:moveTo>
                    <a:pt x="130" y="232"/>
                  </a:moveTo>
                  <a:cubicBezTo>
                    <a:pt x="129" y="236"/>
                    <a:pt x="128" y="238"/>
                    <a:pt x="130" y="240"/>
                  </a:cubicBezTo>
                  <a:cubicBezTo>
                    <a:pt x="133" y="243"/>
                    <a:pt x="135" y="239"/>
                    <a:pt x="137" y="241"/>
                  </a:cubicBezTo>
                  <a:cubicBezTo>
                    <a:pt x="139" y="244"/>
                    <a:pt x="141" y="239"/>
                    <a:pt x="139" y="235"/>
                  </a:cubicBezTo>
                  <a:cubicBezTo>
                    <a:pt x="136" y="229"/>
                    <a:pt x="136" y="227"/>
                    <a:pt x="130" y="23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3" name="Ставропольский край">
              <a:extLst>
                <a:ext uri="{FF2B5EF4-FFF2-40B4-BE49-F238E27FC236}">
                  <a16:creationId xmlns:a16="http://schemas.microsoft.com/office/drawing/2014/main" id="{8CEF71BD-8B63-5EC8-EF1A-7DD1146B8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35" y="5242727"/>
              <a:ext cx="408653" cy="485075"/>
            </a:xfrm>
            <a:custGeom>
              <a:avLst/>
              <a:gdLst>
                <a:gd name="T0" fmla="*/ 4 w 77"/>
                <a:gd name="T1" fmla="*/ 70 h 102"/>
                <a:gd name="T2" fmla="*/ 6 w 77"/>
                <a:gd name="T3" fmla="*/ 70 h 102"/>
                <a:gd name="T4" fmla="*/ 12 w 77"/>
                <a:gd name="T5" fmla="*/ 71 h 102"/>
                <a:gd name="T6" fmla="*/ 16 w 77"/>
                <a:gd name="T7" fmla="*/ 73 h 102"/>
                <a:gd name="T8" fmla="*/ 22 w 77"/>
                <a:gd name="T9" fmla="*/ 82 h 102"/>
                <a:gd name="T10" fmla="*/ 27 w 77"/>
                <a:gd name="T11" fmla="*/ 81 h 102"/>
                <a:gd name="T12" fmla="*/ 33 w 77"/>
                <a:gd name="T13" fmla="*/ 85 h 102"/>
                <a:gd name="T14" fmla="*/ 33 w 77"/>
                <a:gd name="T15" fmla="*/ 89 h 102"/>
                <a:gd name="T16" fmla="*/ 33 w 77"/>
                <a:gd name="T17" fmla="*/ 90 h 102"/>
                <a:gd name="T18" fmla="*/ 32 w 77"/>
                <a:gd name="T19" fmla="*/ 90 h 102"/>
                <a:gd name="T20" fmla="*/ 36 w 77"/>
                <a:gd name="T21" fmla="*/ 92 h 102"/>
                <a:gd name="T22" fmla="*/ 39 w 77"/>
                <a:gd name="T23" fmla="*/ 95 h 102"/>
                <a:gd name="T24" fmla="*/ 39 w 77"/>
                <a:gd name="T25" fmla="*/ 101 h 102"/>
                <a:gd name="T26" fmla="*/ 41 w 77"/>
                <a:gd name="T27" fmla="*/ 101 h 102"/>
                <a:gd name="T28" fmla="*/ 45 w 77"/>
                <a:gd name="T29" fmla="*/ 96 h 102"/>
                <a:gd name="T30" fmla="*/ 51 w 77"/>
                <a:gd name="T31" fmla="*/ 102 h 102"/>
                <a:gd name="T32" fmla="*/ 56 w 77"/>
                <a:gd name="T33" fmla="*/ 102 h 102"/>
                <a:gd name="T34" fmla="*/ 56 w 77"/>
                <a:gd name="T35" fmla="*/ 102 h 102"/>
                <a:gd name="T36" fmla="*/ 57 w 77"/>
                <a:gd name="T37" fmla="*/ 98 h 102"/>
                <a:gd name="T38" fmla="*/ 56 w 77"/>
                <a:gd name="T39" fmla="*/ 92 h 102"/>
                <a:gd name="T40" fmla="*/ 61 w 77"/>
                <a:gd name="T41" fmla="*/ 91 h 102"/>
                <a:gd name="T42" fmla="*/ 63 w 77"/>
                <a:gd name="T43" fmla="*/ 84 h 102"/>
                <a:gd name="T44" fmla="*/ 71 w 77"/>
                <a:gd name="T45" fmla="*/ 85 h 102"/>
                <a:gd name="T46" fmla="*/ 77 w 77"/>
                <a:gd name="T47" fmla="*/ 81 h 102"/>
                <a:gd name="T48" fmla="*/ 77 w 77"/>
                <a:gd name="T49" fmla="*/ 80 h 102"/>
                <a:gd name="T50" fmla="*/ 76 w 77"/>
                <a:gd name="T51" fmla="*/ 71 h 102"/>
                <a:gd name="T52" fmla="*/ 74 w 77"/>
                <a:gd name="T53" fmla="*/ 64 h 102"/>
                <a:gd name="T54" fmla="*/ 69 w 77"/>
                <a:gd name="T55" fmla="*/ 55 h 102"/>
                <a:gd name="T56" fmla="*/ 61 w 77"/>
                <a:gd name="T57" fmla="*/ 44 h 102"/>
                <a:gd name="T58" fmla="*/ 62 w 77"/>
                <a:gd name="T59" fmla="*/ 34 h 102"/>
                <a:gd name="T60" fmla="*/ 56 w 77"/>
                <a:gd name="T61" fmla="*/ 27 h 102"/>
                <a:gd name="T62" fmla="*/ 51 w 77"/>
                <a:gd name="T63" fmla="*/ 17 h 102"/>
                <a:gd name="T64" fmla="*/ 42 w 77"/>
                <a:gd name="T65" fmla="*/ 16 h 102"/>
                <a:gd name="T66" fmla="*/ 36 w 77"/>
                <a:gd name="T67" fmla="*/ 10 h 102"/>
                <a:gd name="T68" fmla="*/ 30 w 77"/>
                <a:gd name="T69" fmla="*/ 7 h 102"/>
                <a:gd name="T70" fmla="*/ 23 w 77"/>
                <a:gd name="T71" fmla="*/ 1 h 102"/>
                <a:gd name="T72" fmla="*/ 15 w 77"/>
                <a:gd name="T73" fmla="*/ 5 h 102"/>
                <a:gd name="T74" fmla="*/ 6 w 77"/>
                <a:gd name="T75" fmla="*/ 3 h 102"/>
                <a:gd name="T76" fmla="*/ 5 w 77"/>
                <a:gd name="T77" fmla="*/ 10 h 102"/>
                <a:gd name="T78" fmla="*/ 7 w 77"/>
                <a:gd name="T79" fmla="*/ 16 h 102"/>
                <a:gd name="T80" fmla="*/ 7 w 77"/>
                <a:gd name="T81" fmla="*/ 21 h 102"/>
                <a:gd name="T82" fmla="*/ 9 w 77"/>
                <a:gd name="T83" fmla="*/ 27 h 102"/>
                <a:gd name="T84" fmla="*/ 0 w 77"/>
                <a:gd name="T85" fmla="*/ 32 h 102"/>
                <a:gd name="T86" fmla="*/ 0 w 77"/>
                <a:gd name="T87" fmla="*/ 40 h 102"/>
                <a:gd name="T88" fmla="*/ 2 w 77"/>
                <a:gd name="T89" fmla="*/ 41 h 102"/>
                <a:gd name="T90" fmla="*/ 3 w 77"/>
                <a:gd name="T91" fmla="*/ 44 h 102"/>
                <a:gd name="T92" fmla="*/ 5 w 77"/>
                <a:gd name="T93" fmla="*/ 49 h 102"/>
                <a:gd name="T94" fmla="*/ 9 w 77"/>
                <a:gd name="T95" fmla="*/ 55 h 102"/>
                <a:gd name="T96" fmla="*/ 3 w 77"/>
                <a:gd name="T97" fmla="*/ 57 h 102"/>
                <a:gd name="T98" fmla="*/ 3 w 77"/>
                <a:gd name="T99" fmla="*/ 60 h 102"/>
                <a:gd name="T100" fmla="*/ 6 w 77"/>
                <a:gd name="T101" fmla="*/ 64 h 102"/>
                <a:gd name="T102" fmla="*/ 5 w 77"/>
                <a:gd name="T103" fmla="*/ 68 h 102"/>
                <a:gd name="T104" fmla="*/ 4 w 77"/>
                <a:gd name="T105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102">
                  <a:moveTo>
                    <a:pt x="4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0" y="101"/>
                    <a:pt x="40" y="101"/>
                    <a:pt x="41" y="101"/>
                  </a:cubicBezTo>
                  <a:cubicBezTo>
                    <a:pt x="42" y="100"/>
                    <a:pt x="45" y="96"/>
                    <a:pt x="45" y="96"/>
                  </a:cubicBezTo>
                  <a:cubicBezTo>
                    <a:pt x="45" y="96"/>
                    <a:pt x="50" y="102"/>
                    <a:pt x="51" y="102"/>
                  </a:cubicBezTo>
                  <a:cubicBezTo>
                    <a:pt x="51" y="102"/>
                    <a:pt x="53" y="102"/>
                    <a:pt x="56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9" y="100"/>
                    <a:pt x="57" y="98"/>
                  </a:cubicBezTo>
                  <a:cubicBezTo>
                    <a:pt x="56" y="95"/>
                    <a:pt x="55" y="92"/>
                    <a:pt x="56" y="92"/>
                  </a:cubicBezTo>
                  <a:cubicBezTo>
                    <a:pt x="57" y="92"/>
                    <a:pt x="61" y="92"/>
                    <a:pt x="61" y="91"/>
                  </a:cubicBezTo>
                  <a:cubicBezTo>
                    <a:pt x="61" y="89"/>
                    <a:pt x="62" y="84"/>
                    <a:pt x="63" y="84"/>
                  </a:cubicBezTo>
                  <a:cubicBezTo>
                    <a:pt x="65" y="84"/>
                    <a:pt x="68" y="87"/>
                    <a:pt x="71" y="85"/>
                  </a:cubicBezTo>
                  <a:cubicBezTo>
                    <a:pt x="72" y="84"/>
                    <a:pt x="74" y="82"/>
                    <a:pt x="77" y="81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0"/>
                    <a:pt x="77" y="73"/>
                    <a:pt x="76" y="71"/>
                  </a:cubicBezTo>
                  <a:cubicBezTo>
                    <a:pt x="76" y="70"/>
                    <a:pt x="74" y="67"/>
                    <a:pt x="74" y="64"/>
                  </a:cubicBezTo>
                  <a:cubicBezTo>
                    <a:pt x="74" y="61"/>
                    <a:pt x="70" y="60"/>
                    <a:pt x="69" y="55"/>
                  </a:cubicBezTo>
                  <a:cubicBezTo>
                    <a:pt x="68" y="50"/>
                    <a:pt x="61" y="48"/>
                    <a:pt x="61" y="44"/>
                  </a:cubicBezTo>
                  <a:cubicBezTo>
                    <a:pt x="62" y="41"/>
                    <a:pt x="65" y="37"/>
                    <a:pt x="62" y="34"/>
                  </a:cubicBezTo>
                  <a:cubicBezTo>
                    <a:pt x="59" y="30"/>
                    <a:pt x="58" y="33"/>
                    <a:pt x="56" y="27"/>
                  </a:cubicBezTo>
                  <a:cubicBezTo>
                    <a:pt x="54" y="21"/>
                    <a:pt x="54" y="19"/>
                    <a:pt x="51" y="17"/>
                  </a:cubicBezTo>
                  <a:cubicBezTo>
                    <a:pt x="49" y="16"/>
                    <a:pt x="45" y="18"/>
                    <a:pt x="42" y="16"/>
                  </a:cubicBezTo>
                  <a:cubicBezTo>
                    <a:pt x="40" y="13"/>
                    <a:pt x="39" y="10"/>
                    <a:pt x="36" y="10"/>
                  </a:cubicBezTo>
                  <a:cubicBezTo>
                    <a:pt x="33" y="11"/>
                    <a:pt x="32" y="12"/>
                    <a:pt x="30" y="7"/>
                  </a:cubicBezTo>
                  <a:cubicBezTo>
                    <a:pt x="27" y="3"/>
                    <a:pt x="27" y="1"/>
                    <a:pt x="23" y="1"/>
                  </a:cubicBezTo>
                  <a:cubicBezTo>
                    <a:pt x="20" y="2"/>
                    <a:pt x="18" y="6"/>
                    <a:pt x="15" y="5"/>
                  </a:cubicBezTo>
                  <a:cubicBezTo>
                    <a:pt x="12" y="4"/>
                    <a:pt x="9" y="0"/>
                    <a:pt x="6" y="3"/>
                  </a:cubicBezTo>
                  <a:cubicBezTo>
                    <a:pt x="3" y="6"/>
                    <a:pt x="7" y="9"/>
                    <a:pt x="5" y="10"/>
                  </a:cubicBezTo>
                  <a:cubicBezTo>
                    <a:pt x="3" y="12"/>
                    <a:pt x="6" y="15"/>
                    <a:pt x="7" y="16"/>
                  </a:cubicBezTo>
                  <a:cubicBezTo>
                    <a:pt x="8" y="17"/>
                    <a:pt x="8" y="20"/>
                    <a:pt x="7" y="21"/>
                  </a:cubicBezTo>
                  <a:cubicBezTo>
                    <a:pt x="6" y="23"/>
                    <a:pt x="10" y="26"/>
                    <a:pt x="9" y="27"/>
                  </a:cubicBezTo>
                  <a:cubicBezTo>
                    <a:pt x="8" y="28"/>
                    <a:pt x="0" y="32"/>
                    <a:pt x="0" y="32"/>
                  </a:cubicBezTo>
                  <a:cubicBezTo>
                    <a:pt x="0" y="32"/>
                    <a:pt x="0" y="37"/>
                    <a:pt x="0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3" y="56"/>
                    <a:pt x="3" y="57"/>
                  </a:cubicBezTo>
                  <a:cubicBezTo>
                    <a:pt x="2" y="58"/>
                    <a:pt x="3" y="60"/>
                    <a:pt x="3" y="60"/>
                  </a:cubicBezTo>
                  <a:cubicBezTo>
                    <a:pt x="3" y="60"/>
                    <a:pt x="6" y="64"/>
                    <a:pt x="6" y="64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4" y="7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4" name="Приморский край">
              <a:extLst>
                <a:ext uri="{FF2B5EF4-FFF2-40B4-BE49-F238E27FC236}">
                  <a16:creationId xmlns:a16="http://schemas.microsoft.com/office/drawing/2014/main" id="{31C192EB-A12E-7904-2D4D-2C11B2E64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928" y="5001328"/>
              <a:ext cx="538910" cy="1111346"/>
            </a:xfrm>
            <a:custGeom>
              <a:avLst/>
              <a:gdLst>
                <a:gd name="T0" fmla="*/ 92 w 101"/>
                <a:gd name="T1" fmla="*/ 20 h 234"/>
                <a:gd name="T2" fmla="*/ 100 w 101"/>
                <a:gd name="T3" fmla="*/ 54 h 234"/>
                <a:gd name="T4" fmla="*/ 99 w 101"/>
                <a:gd name="T5" fmla="*/ 114 h 234"/>
                <a:gd name="T6" fmla="*/ 99 w 101"/>
                <a:gd name="T7" fmla="*/ 150 h 234"/>
                <a:gd name="T8" fmla="*/ 89 w 101"/>
                <a:gd name="T9" fmla="*/ 180 h 234"/>
                <a:gd name="T10" fmla="*/ 77 w 101"/>
                <a:gd name="T11" fmla="*/ 198 h 234"/>
                <a:gd name="T12" fmla="*/ 64 w 101"/>
                <a:gd name="T13" fmla="*/ 201 h 234"/>
                <a:gd name="T14" fmla="*/ 53 w 101"/>
                <a:gd name="T15" fmla="*/ 197 h 234"/>
                <a:gd name="T16" fmla="*/ 43 w 101"/>
                <a:gd name="T17" fmla="*/ 206 h 234"/>
                <a:gd name="T18" fmla="*/ 43 w 101"/>
                <a:gd name="T19" fmla="*/ 223 h 234"/>
                <a:gd name="T20" fmla="*/ 38 w 101"/>
                <a:gd name="T21" fmla="*/ 234 h 234"/>
                <a:gd name="T22" fmla="*/ 36 w 101"/>
                <a:gd name="T23" fmla="*/ 218 h 234"/>
                <a:gd name="T24" fmla="*/ 28 w 101"/>
                <a:gd name="T25" fmla="*/ 198 h 234"/>
                <a:gd name="T26" fmla="*/ 3 w 101"/>
                <a:gd name="T27" fmla="*/ 172 h 234"/>
                <a:gd name="T28" fmla="*/ 9 w 101"/>
                <a:gd name="T29" fmla="*/ 150 h 234"/>
                <a:gd name="T30" fmla="*/ 31 w 101"/>
                <a:gd name="T31" fmla="*/ 135 h 234"/>
                <a:gd name="T32" fmla="*/ 30 w 101"/>
                <a:gd name="T33" fmla="*/ 116 h 234"/>
                <a:gd name="T34" fmla="*/ 26 w 101"/>
                <a:gd name="T35" fmla="*/ 97 h 234"/>
                <a:gd name="T36" fmla="*/ 31 w 101"/>
                <a:gd name="T37" fmla="*/ 89 h 234"/>
                <a:gd name="T38" fmla="*/ 31 w 101"/>
                <a:gd name="T39" fmla="*/ 73 h 234"/>
                <a:gd name="T40" fmla="*/ 43 w 101"/>
                <a:gd name="T41" fmla="*/ 71 h 234"/>
                <a:gd name="T42" fmla="*/ 56 w 101"/>
                <a:gd name="T43" fmla="*/ 70 h 234"/>
                <a:gd name="T44" fmla="*/ 67 w 101"/>
                <a:gd name="T45" fmla="*/ 60 h 234"/>
                <a:gd name="T46" fmla="*/ 63 w 101"/>
                <a:gd name="T47" fmla="*/ 50 h 234"/>
                <a:gd name="T48" fmla="*/ 74 w 101"/>
                <a:gd name="T49" fmla="*/ 39 h 234"/>
                <a:gd name="T50" fmla="*/ 74 w 101"/>
                <a:gd name="T51" fmla="*/ 21 h 234"/>
                <a:gd name="T52" fmla="*/ 68 w 101"/>
                <a:gd name="T53" fmla="*/ 26 h 234"/>
                <a:gd name="T54" fmla="*/ 59 w 101"/>
                <a:gd name="T55" fmla="*/ 21 h 234"/>
                <a:gd name="T56" fmla="*/ 53 w 101"/>
                <a:gd name="T57" fmla="*/ 16 h 234"/>
                <a:gd name="T58" fmla="*/ 62 w 101"/>
                <a:gd name="T59" fmla="*/ 1 h 234"/>
                <a:gd name="T60" fmla="*/ 74 w 101"/>
                <a:gd name="T61" fmla="*/ 6 h 234"/>
                <a:gd name="T62" fmla="*/ 81 w 101"/>
                <a:gd name="T63" fmla="*/ 15 h 234"/>
                <a:gd name="T64" fmla="*/ 92 w 101"/>
                <a:gd name="T65" fmla="*/ 1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234">
                  <a:moveTo>
                    <a:pt x="92" y="17"/>
                  </a:moveTo>
                  <a:cubicBezTo>
                    <a:pt x="92" y="18"/>
                    <a:pt x="92" y="19"/>
                    <a:pt x="92" y="20"/>
                  </a:cubicBezTo>
                  <a:cubicBezTo>
                    <a:pt x="94" y="31"/>
                    <a:pt x="91" y="32"/>
                    <a:pt x="95" y="37"/>
                  </a:cubicBezTo>
                  <a:cubicBezTo>
                    <a:pt x="99" y="43"/>
                    <a:pt x="99" y="49"/>
                    <a:pt x="100" y="54"/>
                  </a:cubicBezTo>
                  <a:cubicBezTo>
                    <a:pt x="100" y="60"/>
                    <a:pt x="97" y="83"/>
                    <a:pt x="98" y="93"/>
                  </a:cubicBezTo>
                  <a:cubicBezTo>
                    <a:pt x="99" y="103"/>
                    <a:pt x="101" y="104"/>
                    <a:pt x="99" y="114"/>
                  </a:cubicBezTo>
                  <a:cubicBezTo>
                    <a:pt x="96" y="124"/>
                    <a:pt x="95" y="123"/>
                    <a:pt x="97" y="127"/>
                  </a:cubicBezTo>
                  <a:cubicBezTo>
                    <a:pt x="99" y="131"/>
                    <a:pt x="99" y="145"/>
                    <a:pt x="99" y="150"/>
                  </a:cubicBezTo>
                  <a:cubicBezTo>
                    <a:pt x="98" y="156"/>
                    <a:pt x="96" y="165"/>
                    <a:pt x="94" y="171"/>
                  </a:cubicBezTo>
                  <a:cubicBezTo>
                    <a:pt x="91" y="177"/>
                    <a:pt x="89" y="175"/>
                    <a:pt x="89" y="180"/>
                  </a:cubicBezTo>
                  <a:cubicBezTo>
                    <a:pt x="88" y="184"/>
                    <a:pt x="84" y="189"/>
                    <a:pt x="82" y="191"/>
                  </a:cubicBezTo>
                  <a:cubicBezTo>
                    <a:pt x="81" y="193"/>
                    <a:pt x="79" y="198"/>
                    <a:pt x="77" y="198"/>
                  </a:cubicBezTo>
                  <a:cubicBezTo>
                    <a:pt x="75" y="198"/>
                    <a:pt x="71" y="197"/>
                    <a:pt x="69" y="199"/>
                  </a:cubicBezTo>
                  <a:cubicBezTo>
                    <a:pt x="67" y="201"/>
                    <a:pt x="66" y="200"/>
                    <a:pt x="64" y="201"/>
                  </a:cubicBezTo>
                  <a:cubicBezTo>
                    <a:pt x="62" y="202"/>
                    <a:pt x="60" y="204"/>
                    <a:pt x="59" y="202"/>
                  </a:cubicBezTo>
                  <a:cubicBezTo>
                    <a:pt x="58" y="199"/>
                    <a:pt x="54" y="195"/>
                    <a:pt x="53" y="197"/>
                  </a:cubicBezTo>
                  <a:cubicBezTo>
                    <a:pt x="52" y="200"/>
                    <a:pt x="50" y="202"/>
                    <a:pt x="48" y="200"/>
                  </a:cubicBezTo>
                  <a:cubicBezTo>
                    <a:pt x="46" y="199"/>
                    <a:pt x="43" y="203"/>
                    <a:pt x="43" y="206"/>
                  </a:cubicBezTo>
                  <a:cubicBezTo>
                    <a:pt x="44" y="208"/>
                    <a:pt x="44" y="212"/>
                    <a:pt x="43" y="213"/>
                  </a:cubicBezTo>
                  <a:cubicBezTo>
                    <a:pt x="41" y="215"/>
                    <a:pt x="44" y="223"/>
                    <a:pt x="43" y="223"/>
                  </a:cubicBezTo>
                  <a:cubicBezTo>
                    <a:pt x="41" y="224"/>
                    <a:pt x="39" y="225"/>
                    <a:pt x="38" y="227"/>
                  </a:cubicBezTo>
                  <a:cubicBezTo>
                    <a:pt x="38" y="228"/>
                    <a:pt x="39" y="231"/>
                    <a:pt x="38" y="234"/>
                  </a:cubicBezTo>
                  <a:cubicBezTo>
                    <a:pt x="34" y="232"/>
                    <a:pt x="31" y="230"/>
                    <a:pt x="30" y="228"/>
                  </a:cubicBezTo>
                  <a:cubicBezTo>
                    <a:pt x="29" y="225"/>
                    <a:pt x="32" y="222"/>
                    <a:pt x="36" y="218"/>
                  </a:cubicBezTo>
                  <a:cubicBezTo>
                    <a:pt x="40" y="214"/>
                    <a:pt x="36" y="214"/>
                    <a:pt x="35" y="210"/>
                  </a:cubicBezTo>
                  <a:cubicBezTo>
                    <a:pt x="33" y="207"/>
                    <a:pt x="30" y="203"/>
                    <a:pt x="28" y="198"/>
                  </a:cubicBezTo>
                  <a:cubicBezTo>
                    <a:pt x="25" y="193"/>
                    <a:pt x="21" y="187"/>
                    <a:pt x="17" y="182"/>
                  </a:cubicBezTo>
                  <a:cubicBezTo>
                    <a:pt x="14" y="176"/>
                    <a:pt x="6" y="175"/>
                    <a:pt x="3" y="172"/>
                  </a:cubicBezTo>
                  <a:cubicBezTo>
                    <a:pt x="0" y="169"/>
                    <a:pt x="4" y="166"/>
                    <a:pt x="9" y="162"/>
                  </a:cubicBezTo>
                  <a:cubicBezTo>
                    <a:pt x="13" y="158"/>
                    <a:pt x="7" y="156"/>
                    <a:pt x="9" y="150"/>
                  </a:cubicBezTo>
                  <a:cubicBezTo>
                    <a:pt x="12" y="144"/>
                    <a:pt x="26" y="147"/>
                    <a:pt x="31" y="145"/>
                  </a:cubicBezTo>
                  <a:cubicBezTo>
                    <a:pt x="37" y="142"/>
                    <a:pt x="33" y="139"/>
                    <a:pt x="31" y="135"/>
                  </a:cubicBezTo>
                  <a:cubicBezTo>
                    <a:pt x="29" y="132"/>
                    <a:pt x="30" y="129"/>
                    <a:pt x="32" y="126"/>
                  </a:cubicBezTo>
                  <a:cubicBezTo>
                    <a:pt x="34" y="124"/>
                    <a:pt x="30" y="118"/>
                    <a:pt x="30" y="116"/>
                  </a:cubicBezTo>
                  <a:cubicBezTo>
                    <a:pt x="29" y="115"/>
                    <a:pt x="29" y="110"/>
                    <a:pt x="29" y="107"/>
                  </a:cubicBezTo>
                  <a:cubicBezTo>
                    <a:pt x="29" y="104"/>
                    <a:pt x="27" y="100"/>
                    <a:pt x="26" y="97"/>
                  </a:cubicBezTo>
                  <a:cubicBezTo>
                    <a:pt x="25" y="96"/>
                    <a:pt x="24" y="94"/>
                    <a:pt x="23" y="92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7" y="20"/>
                    <a:pt x="87" y="20"/>
                    <a:pt x="87" y="20"/>
                  </a:cubicBezTo>
                  <a:lnTo>
                    <a:pt x="92" y="1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5" name="Красноярский край">
              <a:extLst>
                <a:ext uri="{FF2B5EF4-FFF2-40B4-BE49-F238E27FC236}">
                  <a16:creationId xmlns:a16="http://schemas.microsoft.com/office/drawing/2014/main" id="{F73B2B6D-9D4B-CEAF-6D3E-726D0247C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8902" y="1712839"/>
              <a:ext cx="1887461" cy="4299631"/>
            </a:xfrm>
            <a:custGeom>
              <a:avLst/>
              <a:gdLst>
                <a:gd name="T0" fmla="*/ 94 w 355"/>
                <a:gd name="T1" fmla="*/ 769 h 906"/>
                <a:gd name="T2" fmla="*/ 111 w 355"/>
                <a:gd name="T3" fmla="*/ 813 h 906"/>
                <a:gd name="T4" fmla="*/ 139 w 355"/>
                <a:gd name="T5" fmla="*/ 829 h 906"/>
                <a:gd name="T6" fmla="*/ 142 w 355"/>
                <a:gd name="T7" fmla="*/ 873 h 906"/>
                <a:gd name="T8" fmla="*/ 176 w 355"/>
                <a:gd name="T9" fmla="*/ 896 h 906"/>
                <a:gd name="T10" fmla="*/ 198 w 355"/>
                <a:gd name="T11" fmla="*/ 859 h 906"/>
                <a:gd name="T12" fmla="*/ 233 w 355"/>
                <a:gd name="T13" fmla="*/ 846 h 906"/>
                <a:gd name="T14" fmla="*/ 228 w 355"/>
                <a:gd name="T15" fmla="*/ 816 h 906"/>
                <a:gd name="T16" fmla="*/ 233 w 355"/>
                <a:gd name="T17" fmla="*/ 775 h 906"/>
                <a:gd name="T18" fmla="*/ 240 w 355"/>
                <a:gd name="T19" fmla="*/ 736 h 906"/>
                <a:gd name="T20" fmla="*/ 273 w 355"/>
                <a:gd name="T21" fmla="*/ 717 h 906"/>
                <a:gd name="T22" fmla="*/ 305 w 355"/>
                <a:gd name="T23" fmla="*/ 687 h 906"/>
                <a:gd name="T24" fmla="*/ 329 w 355"/>
                <a:gd name="T25" fmla="*/ 681 h 906"/>
                <a:gd name="T26" fmla="*/ 338 w 355"/>
                <a:gd name="T27" fmla="*/ 649 h 906"/>
                <a:gd name="T28" fmla="*/ 324 w 355"/>
                <a:gd name="T29" fmla="*/ 606 h 906"/>
                <a:gd name="T30" fmla="*/ 342 w 355"/>
                <a:gd name="T31" fmla="*/ 567 h 906"/>
                <a:gd name="T32" fmla="*/ 342 w 355"/>
                <a:gd name="T33" fmla="*/ 521 h 906"/>
                <a:gd name="T34" fmla="*/ 340 w 355"/>
                <a:gd name="T35" fmla="*/ 510 h 906"/>
                <a:gd name="T36" fmla="*/ 318 w 355"/>
                <a:gd name="T37" fmla="*/ 501 h 906"/>
                <a:gd name="T38" fmla="*/ 307 w 355"/>
                <a:gd name="T39" fmla="*/ 454 h 906"/>
                <a:gd name="T40" fmla="*/ 304 w 355"/>
                <a:gd name="T41" fmla="*/ 431 h 906"/>
                <a:gd name="T42" fmla="*/ 291 w 355"/>
                <a:gd name="T43" fmla="*/ 361 h 906"/>
                <a:gd name="T44" fmla="*/ 315 w 355"/>
                <a:gd name="T45" fmla="*/ 335 h 906"/>
                <a:gd name="T46" fmla="*/ 336 w 355"/>
                <a:gd name="T47" fmla="*/ 300 h 906"/>
                <a:gd name="T48" fmla="*/ 313 w 355"/>
                <a:gd name="T49" fmla="*/ 261 h 906"/>
                <a:gd name="T50" fmla="*/ 296 w 355"/>
                <a:gd name="T51" fmla="*/ 220 h 906"/>
                <a:gd name="T52" fmla="*/ 269 w 355"/>
                <a:gd name="T53" fmla="*/ 248 h 906"/>
                <a:gd name="T54" fmla="*/ 284 w 355"/>
                <a:gd name="T55" fmla="*/ 210 h 906"/>
                <a:gd name="T56" fmla="*/ 298 w 355"/>
                <a:gd name="T57" fmla="*/ 150 h 906"/>
                <a:gd name="T58" fmla="*/ 238 w 355"/>
                <a:gd name="T59" fmla="*/ 145 h 906"/>
                <a:gd name="T60" fmla="*/ 196 w 355"/>
                <a:gd name="T61" fmla="*/ 138 h 906"/>
                <a:gd name="T62" fmla="*/ 159 w 355"/>
                <a:gd name="T63" fmla="*/ 172 h 906"/>
                <a:gd name="T64" fmla="*/ 91 w 355"/>
                <a:gd name="T65" fmla="*/ 213 h 906"/>
                <a:gd name="T66" fmla="*/ 63 w 355"/>
                <a:gd name="T67" fmla="*/ 250 h 906"/>
                <a:gd name="T68" fmla="*/ 48 w 355"/>
                <a:gd name="T69" fmla="*/ 330 h 906"/>
                <a:gd name="T70" fmla="*/ 47 w 355"/>
                <a:gd name="T71" fmla="*/ 309 h 906"/>
                <a:gd name="T72" fmla="*/ 22 w 355"/>
                <a:gd name="T73" fmla="*/ 304 h 906"/>
                <a:gd name="T74" fmla="*/ 21 w 355"/>
                <a:gd name="T75" fmla="*/ 348 h 906"/>
                <a:gd name="T76" fmla="*/ 15 w 355"/>
                <a:gd name="T77" fmla="*/ 382 h 906"/>
                <a:gd name="T78" fmla="*/ 33 w 355"/>
                <a:gd name="T79" fmla="*/ 388 h 906"/>
                <a:gd name="T80" fmla="*/ 24 w 355"/>
                <a:gd name="T81" fmla="*/ 426 h 906"/>
                <a:gd name="T82" fmla="*/ 34 w 355"/>
                <a:gd name="T83" fmla="*/ 458 h 906"/>
                <a:gd name="T84" fmla="*/ 35 w 355"/>
                <a:gd name="T85" fmla="*/ 492 h 906"/>
                <a:gd name="T86" fmla="*/ 53 w 355"/>
                <a:gd name="T87" fmla="*/ 520 h 906"/>
                <a:gd name="T88" fmla="*/ 51 w 355"/>
                <a:gd name="T89" fmla="*/ 559 h 906"/>
                <a:gd name="T90" fmla="*/ 41 w 355"/>
                <a:gd name="T91" fmla="*/ 608 h 906"/>
                <a:gd name="T92" fmla="*/ 35 w 355"/>
                <a:gd name="T93" fmla="*/ 660 h 906"/>
                <a:gd name="T94" fmla="*/ 84 w 355"/>
                <a:gd name="T95" fmla="*/ 689 h 906"/>
                <a:gd name="T96" fmla="*/ 99 w 355"/>
                <a:gd name="T97" fmla="*/ 726 h 906"/>
                <a:gd name="T98" fmla="*/ 188 w 355"/>
                <a:gd name="T99" fmla="*/ 63 h 906"/>
                <a:gd name="T100" fmla="*/ 216 w 355"/>
                <a:gd name="T101" fmla="*/ 87 h 906"/>
                <a:gd name="T102" fmla="*/ 138 w 355"/>
                <a:gd name="T103" fmla="*/ 50 h 906"/>
                <a:gd name="T104" fmla="*/ 130 w 355"/>
                <a:gd name="T105" fmla="*/ 16 h 906"/>
                <a:gd name="T106" fmla="*/ 145 w 355"/>
                <a:gd name="T107" fmla="*/ 40 h 906"/>
                <a:gd name="T108" fmla="*/ 178 w 355"/>
                <a:gd name="T109" fmla="*/ 76 h 906"/>
                <a:gd name="T110" fmla="*/ 138 w 355"/>
                <a:gd name="T111" fmla="*/ 5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5" h="906"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lose/>
                  <a:moveTo>
                    <a:pt x="93" y="758"/>
                  </a:moveTo>
                  <a:cubicBezTo>
                    <a:pt x="94" y="769"/>
                    <a:pt x="94" y="769"/>
                    <a:pt x="94" y="769"/>
                  </a:cubicBezTo>
                  <a:cubicBezTo>
                    <a:pt x="101" y="775"/>
                    <a:pt x="101" y="775"/>
                    <a:pt x="101" y="775"/>
                  </a:cubicBezTo>
                  <a:cubicBezTo>
                    <a:pt x="105" y="781"/>
                    <a:pt x="105" y="781"/>
                    <a:pt x="105" y="781"/>
                  </a:cubicBezTo>
                  <a:cubicBezTo>
                    <a:pt x="105" y="792"/>
                    <a:pt x="105" y="792"/>
                    <a:pt x="105" y="792"/>
                  </a:cubicBezTo>
                  <a:cubicBezTo>
                    <a:pt x="97" y="799"/>
                    <a:pt x="97" y="799"/>
                    <a:pt x="97" y="799"/>
                  </a:cubicBezTo>
                  <a:cubicBezTo>
                    <a:pt x="105" y="813"/>
                    <a:pt x="105" y="813"/>
                    <a:pt x="105" y="813"/>
                  </a:cubicBezTo>
                  <a:cubicBezTo>
                    <a:pt x="111" y="813"/>
                    <a:pt x="111" y="813"/>
                    <a:pt x="111" y="813"/>
                  </a:cubicBezTo>
                  <a:cubicBezTo>
                    <a:pt x="115" y="810"/>
                    <a:pt x="115" y="810"/>
                    <a:pt x="115" y="810"/>
                  </a:cubicBezTo>
                  <a:cubicBezTo>
                    <a:pt x="128" y="813"/>
                    <a:pt x="128" y="813"/>
                    <a:pt x="128" y="813"/>
                  </a:cubicBezTo>
                  <a:cubicBezTo>
                    <a:pt x="132" y="811"/>
                    <a:pt x="132" y="811"/>
                    <a:pt x="132" y="811"/>
                  </a:cubicBezTo>
                  <a:cubicBezTo>
                    <a:pt x="135" y="816"/>
                    <a:pt x="135" y="816"/>
                    <a:pt x="135" y="816"/>
                  </a:cubicBezTo>
                  <a:cubicBezTo>
                    <a:pt x="132" y="822"/>
                    <a:pt x="132" y="822"/>
                    <a:pt x="132" y="822"/>
                  </a:cubicBezTo>
                  <a:cubicBezTo>
                    <a:pt x="139" y="829"/>
                    <a:pt x="139" y="829"/>
                    <a:pt x="139" y="829"/>
                  </a:cubicBezTo>
                  <a:cubicBezTo>
                    <a:pt x="139" y="838"/>
                    <a:pt x="139" y="838"/>
                    <a:pt x="139" y="838"/>
                  </a:cubicBezTo>
                  <a:cubicBezTo>
                    <a:pt x="148" y="845"/>
                    <a:pt x="148" y="845"/>
                    <a:pt x="148" y="845"/>
                  </a:cubicBezTo>
                  <a:cubicBezTo>
                    <a:pt x="147" y="854"/>
                    <a:pt x="147" y="854"/>
                    <a:pt x="147" y="854"/>
                  </a:cubicBezTo>
                  <a:cubicBezTo>
                    <a:pt x="150" y="860"/>
                    <a:pt x="150" y="860"/>
                    <a:pt x="150" y="860"/>
                  </a:cubicBezTo>
                  <a:cubicBezTo>
                    <a:pt x="141" y="868"/>
                    <a:pt x="141" y="868"/>
                    <a:pt x="141" y="868"/>
                  </a:cubicBezTo>
                  <a:cubicBezTo>
                    <a:pt x="142" y="873"/>
                    <a:pt x="142" y="873"/>
                    <a:pt x="142" y="873"/>
                  </a:cubicBezTo>
                  <a:cubicBezTo>
                    <a:pt x="130" y="884"/>
                    <a:pt x="130" y="884"/>
                    <a:pt x="130" y="884"/>
                  </a:cubicBezTo>
                  <a:cubicBezTo>
                    <a:pt x="125" y="898"/>
                    <a:pt x="125" y="898"/>
                    <a:pt x="125" y="898"/>
                  </a:cubicBezTo>
                  <a:cubicBezTo>
                    <a:pt x="137" y="905"/>
                    <a:pt x="137" y="905"/>
                    <a:pt x="137" y="905"/>
                  </a:cubicBezTo>
                  <a:cubicBezTo>
                    <a:pt x="151" y="906"/>
                    <a:pt x="151" y="906"/>
                    <a:pt x="151" y="906"/>
                  </a:cubicBezTo>
                  <a:cubicBezTo>
                    <a:pt x="164" y="905"/>
                    <a:pt x="164" y="905"/>
                    <a:pt x="164" y="905"/>
                  </a:cubicBezTo>
                  <a:cubicBezTo>
                    <a:pt x="176" y="896"/>
                    <a:pt x="176" y="896"/>
                    <a:pt x="176" y="896"/>
                  </a:cubicBezTo>
                  <a:cubicBezTo>
                    <a:pt x="183" y="896"/>
                    <a:pt x="183" y="896"/>
                    <a:pt x="183" y="896"/>
                  </a:cubicBezTo>
                  <a:cubicBezTo>
                    <a:pt x="183" y="886"/>
                    <a:pt x="183" y="886"/>
                    <a:pt x="183" y="886"/>
                  </a:cubicBezTo>
                  <a:cubicBezTo>
                    <a:pt x="189" y="881"/>
                    <a:pt x="189" y="881"/>
                    <a:pt x="189" y="881"/>
                  </a:cubicBezTo>
                  <a:cubicBezTo>
                    <a:pt x="188" y="875"/>
                    <a:pt x="188" y="875"/>
                    <a:pt x="188" y="875"/>
                  </a:cubicBezTo>
                  <a:cubicBezTo>
                    <a:pt x="196" y="872"/>
                    <a:pt x="196" y="872"/>
                    <a:pt x="196" y="872"/>
                  </a:cubicBezTo>
                  <a:cubicBezTo>
                    <a:pt x="198" y="859"/>
                    <a:pt x="198" y="859"/>
                    <a:pt x="198" y="859"/>
                  </a:cubicBezTo>
                  <a:cubicBezTo>
                    <a:pt x="206" y="857"/>
                    <a:pt x="206" y="857"/>
                    <a:pt x="206" y="857"/>
                  </a:cubicBezTo>
                  <a:cubicBezTo>
                    <a:pt x="212" y="857"/>
                    <a:pt x="212" y="857"/>
                    <a:pt x="212" y="857"/>
                  </a:cubicBezTo>
                  <a:cubicBezTo>
                    <a:pt x="215" y="854"/>
                    <a:pt x="215" y="854"/>
                    <a:pt x="215" y="854"/>
                  </a:cubicBezTo>
                  <a:cubicBezTo>
                    <a:pt x="225" y="852"/>
                    <a:pt x="225" y="852"/>
                    <a:pt x="225" y="852"/>
                  </a:cubicBezTo>
                  <a:cubicBezTo>
                    <a:pt x="231" y="850"/>
                    <a:pt x="231" y="850"/>
                    <a:pt x="231" y="850"/>
                  </a:cubicBezTo>
                  <a:cubicBezTo>
                    <a:pt x="233" y="846"/>
                    <a:pt x="233" y="846"/>
                    <a:pt x="233" y="846"/>
                  </a:cubicBezTo>
                  <a:cubicBezTo>
                    <a:pt x="214" y="836"/>
                    <a:pt x="214" y="836"/>
                    <a:pt x="214" y="836"/>
                  </a:cubicBezTo>
                  <a:cubicBezTo>
                    <a:pt x="212" y="827"/>
                    <a:pt x="212" y="827"/>
                    <a:pt x="212" y="827"/>
                  </a:cubicBezTo>
                  <a:cubicBezTo>
                    <a:pt x="216" y="825"/>
                    <a:pt x="216" y="825"/>
                    <a:pt x="216" y="825"/>
                  </a:cubicBezTo>
                  <a:cubicBezTo>
                    <a:pt x="221" y="822"/>
                    <a:pt x="221" y="822"/>
                    <a:pt x="221" y="822"/>
                  </a:cubicBezTo>
                  <a:cubicBezTo>
                    <a:pt x="228" y="821"/>
                    <a:pt x="228" y="821"/>
                    <a:pt x="228" y="821"/>
                  </a:cubicBezTo>
                  <a:cubicBezTo>
                    <a:pt x="228" y="816"/>
                    <a:pt x="228" y="816"/>
                    <a:pt x="228" y="816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28" y="801"/>
                    <a:pt x="228" y="801"/>
                    <a:pt x="228" y="801"/>
                  </a:cubicBezTo>
                  <a:cubicBezTo>
                    <a:pt x="231" y="794"/>
                    <a:pt x="231" y="794"/>
                    <a:pt x="231" y="794"/>
                  </a:cubicBezTo>
                  <a:cubicBezTo>
                    <a:pt x="226" y="786"/>
                    <a:pt x="226" y="786"/>
                    <a:pt x="226" y="786"/>
                  </a:cubicBezTo>
                  <a:cubicBezTo>
                    <a:pt x="228" y="776"/>
                    <a:pt x="228" y="776"/>
                    <a:pt x="228" y="776"/>
                  </a:cubicBezTo>
                  <a:cubicBezTo>
                    <a:pt x="233" y="775"/>
                    <a:pt x="233" y="775"/>
                    <a:pt x="233" y="775"/>
                  </a:cubicBezTo>
                  <a:cubicBezTo>
                    <a:pt x="238" y="771"/>
                    <a:pt x="238" y="771"/>
                    <a:pt x="238" y="771"/>
                  </a:cubicBezTo>
                  <a:cubicBezTo>
                    <a:pt x="244" y="765"/>
                    <a:pt x="244" y="765"/>
                    <a:pt x="244" y="765"/>
                  </a:cubicBezTo>
                  <a:cubicBezTo>
                    <a:pt x="242" y="755"/>
                    <a:pt x="242" y="755"/>
                    <a:pt x="242" y="755"/>
                  </a:cubicBezTo>
                  <a:cubicBezTo>
                    <a:pt x="236" y="747"/>
                    <a:pt x="236" y="747"/>
                    <a:pt x="236" y="747"/>
                  </a:cubicBezTo>
                  <a:cubicBezTo>
                    <a:pt x="235" y="740"/>
                    <a:pt x="235" y="740"/>
                    <a:pt x="235" y="740"/>
                  </a:cubicBezTo>
                  <a:cubicBezTo>
                    <a:pt x="240" y="736"/>
                    <a:pt x="240" y="736"/>
                    <a:pt x="240" y="736"/>
                  </a:cubicBezTo>
                  <a:cubicBezTo>
                    <a:pt x="241" y="726"/>
                    <a:pt x="241" y="726"/>
                    <a:pt x="241" y="726"/>
                  </a:cubicBezTo>
                  <a:cubicBezTo>
                    <a:pt x="248" y="725"/>
                    <a:pt x="248" y="725"/>
                    <a:pt x="248" y="725"/>
                  </a:cubicBezTo>
                  <a:cubicBezTo>
                    <a:pt x="259" y="724"/>
                    <a:pt x="259" y="724"/>
                    <a:pt x="259" y="724"/>
                  </a:cubicBezTo>
                  <a:cubicBezTo>
                    <a:pt x="265" y="716"/>
                    <a:pt x="265" y="716"/>
                    <a:pt x="265" y="716"/>
                  </a:cubicBezTo>
                  <a:cubicBezTo>
                    <a:pt x="268" y="713"/>
                    <a:pt x="268" y="713"/>
                    <a:pt x="268" y="713"/>
                  </a:cubicBezTo>
                  <a:cubicBezTo>
                    <a:pt x="273" y="717"/>
                    <a:pt x="273" y="717"/>
                    <a:pt x="273" y="717"/>
                  </a:cubicBezTo>
                  <a:cubicBezTo>
                    <a:pt x="279" y="727"/>
                    <a:pt x="279" y="727"/>
                    <a:pt x="279" y="727"/>
                  </a:cubicBezTo>
                  <a:cubicBezTo>
                    <a:pt x="286" y="731"/>
                    <a:pt x="286" y="731"/>
                    <a:pt x="286" y="731"/>
                  </a:cubicBezTo>
                  <a:cubicBezTo>
                    <a:pt x="288" y="726"/>
                    <a:pt x="288" y="726"/>
                    <a:pt x="288" y="726"/>
                  </a:cubicBezTo>
                  <a:cubicBezTo>
                    <a:pt x="285" y="720"/>
                    <a:pt x="285" y="720"/>
                    <a:pt x="285" y="720"/>
                  </a:cubicBezTo>
                  <a:cubicBezTo>
                    <a:pt x="289" y="706"/>
                    <a:pt x="289" y="706"/>
                    <a:pt x="289" y="706"/>
                  </a:cubicBezTo>
                  <a:cubicBezTo>
                    <a:pt x="305" y="687"/>
                    <a:pt x="305" y="687"/>
                    <a:pt x="305" y="687"/>
                  </a:cubicBezTo>
                  <a:cubicBezTo>
                    <a:pt x="303" y="678"/>
                    <a:pt x="303" y="678"/>
                    <a:pt x="303" y="678"/>
                  </a:cubicBezTo>
                  <a:cubicBezTo>
                    <a:pt x="307" y="673"/>
                    <a:pt x="307" y="673"/>
                    <a:pt x="307" y="673"/>
                  </a:cubicBezTo>
                  <a:cubicBezTo>
                    <a:pt x="313" y="671"/>
                    <a:pt x="313" y="671"/>
                    <a:pt x="313" y="671"/>
                  </a:cubicBezTo>
                  <a:cubicBezTo>
                    <a:pt x="318" y="677"/>
                    <a:pt x="318" y="677"/>
                    <a:pt x="318" y="677"/>
                  </a:cubicBezTo>
                  <a:cubicBezTo>
                    <a:pt x="325" y="678"/>
                    <a:pt x="325" y="678"/>
                    <a:pt x="325" y="678"/>
                  </a:cubicBezTo>
                  <a:cubicBezTo>
                    <a:pt x="329" y="681"/>
                    <a:pt x="329" y="681"/>
                    <a:pt x="329" y="681"/>
                  </a:cubicBezTo>
                  <a:cubicBezTo>
                    <a:pt x="337" y="682"/>
                    <a:pt x="337" y="682"/>
                    <a:pt x="337" y="682"/>
                  </a:cubicBezTo>
                  <a:cubicBezTo>
                    <a:pt x="341" y="676"/>
                    <a:pt x="341" y="676"/>
                    <a:pt x="341" y="676"/>
                  </a:cubicBezTo>
                  <a:cubicBezTo>
                    <a:pt x="347" y="670"/>
                    <a:pt x="347" y="670"/>
                    <a:pt x="347" y="670"/>
                  </a:cubicBezTo>
                  <a:cubicBezTo>
                    <a:pt x="344" y="657"/>
                    <a:pt x="344" y="657"/>
                    <a:pt x="344" y="657"/>
                  </a:cubicBezTo>
                  <a:cubicBezTo>
                    <a:pt x="338" y="656"/>
                    <a:pt x="338" y="656"/>
                    <a:pt x="338" y="656"/>
                  </a:cubicBezTo>
                  <a:cubicBezTo>
                    <a:pt x="338" y="649"/>
                    <a:pt x="338" y="649"/>
                    <a:pt x="338" y="649"/>
                  </a:cubicBezTo>
                  <a:cubicBezTo>
                    <a:pt x="343" y="647"/>
                    <a:pt x="343" y="647"/>
                    <a:pt x="343" y="647"/>
                  </a:cubicBezTo>
                  <a:cubicBezTo>
                    <a:pt x="339" y="634"/>
                    <a:pt x="339" y="634"/>
                    <a:pt x="339" y="634"/>
                  </a:cubicBezTo>
                  <a:cubicBezTo>
                    <a:pt x="333" y="635"/>
                    <a:pt x="333" y="635"/>
                    <a:pt x="333" y="635"/>
                  </a:cubicBezTo>
                  <a:cubicBezTo>
                    <a:pt x="323" y="628"/>
                    <a:pt x="323" y="628"/>
                    <a:pt x="323" y="628"/>
                  </a:cubicBezTo>
                  <a:cubicBezTo>
                    <a:pt x="325" y="619"/>
                    <a:pt x="325" y="619"/>
                    <a:pt x="325" y="619"/>
                  </a:cubicBezTo>
                  <a:cubicBezTo>
                    <a:pt x="324" y="606"/>
                    <a:pt x="324" y="606"/>
                    <a:pt x="324" y="606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337" y="594"/>
                    <a:pt x="337" y="594"/>
                    <a:pt x="337" y="594"/>
                  </a:cubicBezTo>
                  <a:cubicBezTo>
                    <a:pt x="337" y="584"/>
                    <a:pt x="337" y="584"/>
                    <a:pt x="337" y="584"/>
                  </a:cubicBezTo>
                  <a:cubicBezTo>
                    <a:pt x="343" y="578"/>
                    <a:pt x="343" y="578"/>
                    <a:pt x="343" y="578"/>
                  </a:cubicBezTo>
                  <a:cubicBezTo>
                    <a:pt x="340" y="572"/>
                    <a:pt x="340" y="572"/>
                    <a:pt x="340" y="572"/>
                  </a:cubicBezTo>
                  <a:cubicBezTo>
                    <a:pt x="342" y="567"/>
                    <a:pt x="342" y="567"/>
                    <a:pt x="342" y="567"/>
                  </a:cubicBezTo>
                  <a:cubicBezTo>
                    <a:pt x="333" y="557"/>
                    <a:pt x="333" y="557"/>
                    <a:pt x="333" y="557"/>
                  </a:cubicBezTo>
                  <a:cubicBezTo>
                    <a:pt x="333" y="550"/>
                    <a:pt x="333" y="550"/>
                    <a:pt x="333" y="550"/>
                  </a:cubicBezTo>
                  <a:cubicBezTo>
                    <a:pt x="334" y="543"/>
                    <a:pt x="334" y="543"/>
                    <a:pt x="334" y="543"/>
                  </a:cubicBezTo>
                  <a:cubicBezTo>
                    <a:pt x="331" y="536"/>
                    <a:pt x="331" y="536"/>
                    <a:pt x="331" y="536"/>
                  </a:cubicBezTo>
                  <a:cubicBezTo>
                    <a:pt x="332" y="528"/>
                    <a:pt x="332" y="528"/>
                    <a:pt x="332" y="528"/>
                  </a:cubicBezTo>
                  <a:cubicBezTo>
                    <a:pt x="342" y="521"/>
                    <a:pt x="342" y="521"/>
                    <a:pt x="342" y="521"/>
                  </a:cubicBezTo>
                  <a:cubicBezTo>
                    <a:pt x="348" y="520"/>
                    <a:pt x="348" y="520"/>
                    <a:pt x="348" y="520"/>
                  </a:cubicBezTo>
                  <a:cubicBezTo>
                    <a:pt x="355" y="515"/>
                    <a:pt x="355" y="515"/>
                    <a:pt x="355" y="515"/>
                  </a:cubicBezTo>
                  <a:cubicBezTo>
                    <a:pt x="354" y="509"/>
                    <a:pt x="354" y="509"/>
                    <a:pt x="354" y="509"/>
                  </a:cubicBezTo>
                  <a:cubicBezTo>
                    <a:pt x="350" y="509"/>
                    <a:pt x="350" y="509"/>
                    <a:pt x="350" y="509"/>
                  </a:cubicBezTo>
                  <a:cubicBezTo>
                    <a:pt x="346" y="512"/>
                    <a:pt x="346" y="512"/>
                    <a:pt x="346" y="512"/>
                  </a:cubicBezTo>
                  <a:cubicBezTo>
                    <a:pt x="340" y="510"/>
                    <a:pt x="340" y="510"/>
                    <a:pt x="340" y="510"/>
                  </a:cubicBezTo>
                  <a:cubicBezTo>
                    <a:pt x="335" y="513"/>
                    <a:pt x="335" y="513"/>
                    <a:pt x="335" y="513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24" y="513"/>
                    <a:pt x="324" y="513"/>
                    <a:pt x="324" y="513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17" y="503"/>
                    <a:pt x="317" y="503"/>
                    <a:pt x="317" y="503"/>
                  </a:cubicBezTo>
                  <a:cubicBezTo>
                    <a:pt x="318" y="501"/>
                    <a:pt x="318" y="501"/>
                    <a:pt x="318" y="501"/>
                  </a:cubicBezTo>
                  <a:cubicBezTo>
                    <a:pt x="318" y="494"/>
                    <a:pt x="318" y="494"/>
                    <a:pt x="318" y="494"/>
                  </a:cubicBezTo>
                  <a:cubicBezTo>
                    <a:pt x="322" y="480"/>
                    <a:pt x="322" y="480"/>
                    <a:pt x="322" y="480"/>
                  </a:cubicBezTo>
                  <a:cubicBezTo>
                    <a:pt x="315" y="472"/>
                    <a:pt x="315" y="472"/>
                    <a:pt x="315" y="472"/>
                  </a:cubicBezTo>
                  <a:cubicBezTo>
                    <a:pt x="314" y="463"/>
                    <a:pt x="314" y="463"/>
                    <a:pt x="314" y="463"/>
                  </a:cubicBezTo>
                  <a:cubicBezTo>
                    <a:pt x="308" y="459"/>
                    <a:pt x="308" y="459"/>
                    <a:pt x="308" y="459"/>
                  </a:cubicBezTo>
                  <a:cubicBezTo>
                    <a:pt x="307" y="454"/>
                    <a:pt x="307" y="454"/>
                    <a:pt x="307" y="454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7" y="442"/>
                    <a:pt x="307" y="442"/>
                    <a:pt x="307" y="442"/>
                  </a:cubicBezTo>
                  <a:cubicBezTo>
                    <a:pt x="298" y="442"/>
                    <a:pt x="298" y="442"/>
                    <a:pt x="298" y="442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304" y="431"/>
                    <a:pt x="304" y="431"/>
                    <a:pt x="304" y="431"/>
                  </a:cubicBezTo>
                  <a:cubicBezTo>
                    <a:pt x="309" y="429"/>
                    <a:pt x="309" y="429"/>
                    <a:pt x="309" y="429"/>
                  </a:cubicBezTo>
                  <a:cubicBezTo>
                    <a:pt x="305" y="400"/>
                    <a:pt x="305" y="400"/>
                    <a:pt x="305" y="40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299" y="379"/>
                    <a:pt x="299" y="379"/>
                    <a:pt x="299" y="379"/>
                  </a:cubicBezTo>
                  <a:cubicBezTo>
                    <a:pt x="290" y="367"/>
                    <a:pt x="290" y="367"/>
                    <a:pt x="290" y="367"/>
                  </a:cubicBezTo>
                  <a:cubicBezTo>
                    <a:pt x="291" y="361"/>
                    <a:pt x="291" y="361"/>
                    <a:pt x="291" y="361"/>
                  </a:cubicBezTo>
                  <a:cubicBezTo>
                    <a:pt x="295" y="360"/>
                    <a:pt x="295" y="360"/>
                    <a:pt x="295" y="360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11" y="349"/>
                    <a:pt x="311" y="349"/>
                    <a:pt x="311" y="349"/>
                  </a:cubicBezTo>
                  <a:cubicBezTo>
                    <a:pt x="316" y="349"/>
                    <a:pt x="316" y="349"/>
                    <a:pt x="316" y="349"/>
                  </a:cubicBezTo>
                  <a:cubicBezTo>
                    <a:pt x="319" y="340"/>
                    <a:pt x="319" y="340"/>
                    <a:pt x="319" y="340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1" y="327"/>
                    <a:pt x="321" y="327"/>
                    <a:pt x="321" y="327"/>
                  </a:cubicBezTo>
                  <a:cubicBezTo>
                    <a:pt x="321" y="316"/>
                    <a:pt x="321" y="316"/>
                    <a:pt x="321" y="316"/>
                  </a:cubicBezTo>
                  <a:cubicBezTo>
                    <a:pt x="332" y="305"/>
                    <a:pt x="332" y="305"/>
                    <a:pt x="332" y="305"/>
                  </a:cubicBezTo>
                  <a:cubicBezTo>
                    <a:pt x="333" y="300"/>
                    <a:pt x="333" y="300"/>
                    <a:pt x="333" y="300"/>
                  </a:cubicBezTo>
                  <a:cubicBezTo>
                    <a:pt x="336" y="300"/>
                    <a:pt x="336" y="300"/>
                    <a:pt x="336" y="300"/>
                  </a:cubicBezTo>
                  <a:cubicBezTo>
                    <a:pt x="337" y="291"/>
                    <a:pt x="337" y="291"/>
                    <a:pt x="337" y="291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327" y="285"/>
                    <a:pt x="327" y="285"/>
                    <a:pt x="327" y="285"/>
                  </a:cubicBezTo>
                  <a:cubicBezTo>
                    <a:pt x="325" y="275"/>
                    <a:pt x="325" y="275"/>
                    <a:pt x="325" y="275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3" y="261"/>
                    <a:pt x="313" y="261"/>
                    <a:pt x="313" y="261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3" y="254"/>
                    <a:pt x="303" y="254"/>
                    <a:pt x="303" y="254"/>
                  </a:cubicBezTo>
                  <a:cubicBezTo>
                    <a:pt x="304" y="245"/>
                    <a:pt x="304" y="245"/>
                    <a:pt x="304" y="245"/>
                  </a:cubicBezTo>
                  <a:cubicBezTo>
                    <a:pt x="297" y="236"/>
                    <a:pt x="297" y="236"/>
                    <a:pt x="297" y="236"/>
                  </a:cubicBezTo>
                  <a:cubicBezTo>
                    <a:pt x="301" y="229"/>
                    <a:pt x="301" y="229"/>
                    <a:pt x="301" y="229"/>
                  </a:cubicBezTo>
                  <a:cubicBezTo>
                    <a:pt x="296" y="220"/>
                    <a:pt x="296" y="220"/>
                    <a:pt x="296" y="220"/>
                  </a:cubicBezTo>
                  <a:cubicBezTo>
                    <a:pt x="294" y="216"/>
                    <a:pt x="294" y="216"/>
                    <a:pt x="294" y="216"/>
                  </a:cubicBezTo>
                  <a:cubicBezTo>
                    <a:pt x="291" y="218"/>
                    <a:pt x="287" y="217"/>
                    <a:pt x="286" y="219"/>
                  </a:cubicBezTo>
                  <a:cubicBezTo>
                    <a:pt x="285" y="221"/>
                    <a:pt x="285" y="227"/>
                    <a:pt x="288" y="228"/>
                  </a:cubicBezTo>
                  <a:cubicBezTo>
                    <a:pt x="290" y="228"/>
                    <a:pt x="296" y="226"/>
                    <a:pt x="293" y="230"/>
                  </a:cubicBezTo>
                  <a:cubicBezTo>
                    <a:pt x="290" y="233"/>
                    <a:pt x="282" y="240"/>
                    <a:pt x="279" y="241"/>
                  </a:cubicBezTo>
                  <a:cubicBezTo>
                    <a:pt x="276" y="243"/>
                    <a:pt x="273" y="245"/>
                    <a:pt x="269" y="248"/>
                  </a:cubicBezTo>
                  <a:cubicBezTo>
                    <a:pt x="266" y="250"/>
                    <a:pt x="259" y="253"/>
                    <a:pt x="260" y="251"/>
                  </a:cubicBezTo>
                  <a:cubicBezTo>
                    <a:pt x="262" y="249"/>
                    <a:pt x="263" y="248"/>
                    <a:pt x="264" y="245"/>
                  </a:cubicBezTo>
                  <a:cubicBezTo>
                    <a:pt x="265" y="243"/>
                    <a:pt x="267" y="241"/>
                    <a:pt x="269" y="238"/>
                  </a:cubicBezTo>
                  <a:cubicBezTo>
                    <a:pt x="271" y="235"/>
                    <a:pt x="273" y="232"/>
                    <a:pt x="276" y="229"/>
                  </a:cubicBezTo>
                  <a:cubicBezTo>
                    <a:pt x="278" y="226"/>
                    <a:pt x="279" y="223"/>
                    <a:pt x="280" y="221"/>
                  </a:cubicBezTo>
                  <a:cubicBezTo>
                    <a:pt x="281" y="219"/>
                    <a:pt x="283" y="215"/>
                    <a:pt x="284" y="210"/>
                  </a:cubicBezTo>
                  <a:cubicBezTo>
                    <a:pt x="286" y="205"/>
                    <a:pt x="285" y="204"/>
                    <a:pt x="289" y="198"/>
                  </a:cubicBezTo>
                  <a:cubicBezTo>
                    <a:pt x="292" y="193"/>
                    <a:pt x="294" y="195"/>
                    <a:pt x="295" y="191"/>
                  </a:cubicBezTo>
                  <a:cubicBezTo>
                    <a:pt x="297" y="187"/>
                    <a:pt x="296" y="185"/>
                    <a:pt x="300" y="182"/>
                  </a:cubicBezTo>
                  <a:cubicBezTo>
                    <a:pt x="303" y="179"/>
                    <a:pt x="304" y="175"/>
                    <a:pt x="304" y="167"/>
                  </a:cubicBezTo>
                  <a:cubicBezTo>
                    <a:pt x="303" y="159"/>
                    <a:pt x="301" y="162"/>
                    <a:pt x="301" y="158"/>
                  </a:cubicBezTo>
                  <a:cubicBezTo>
                    <a:pt x="300" y="154"/>
                    <a:pt x="299" y="152"/>
                    <a:pt x="298" y="150"/>
                  </a:cubicBezTo>
                  <a:cubicBezTo>
                    <a:pt x="297" y="148"/>
                    <a:pt x="292" y="143"/>
                    <a:pt x="290" y="142"/>
                  </a:cubicBezTo>
                  <a:cubicBezTo>
                    <a:pt x="287" y="142"/>
                    <a:pt x="283" y="140"/>
                    <a:pt x="278" y="135"/>
                  </a:cubicBezTo>
                  <a:cubicBezTo>
                    <a:pt x="273" y="130"/>
                    <a:pt x="271" y="129"/>
                    <a:pt x="268" y="132"/>
                  </a:cubicBezTo>
                  <a:cubicBezTo>
                    <a:pt x="265" y="135"/>
                    <a:pt x="258" y="134"/>
                    <a:pt x="252" y="136"/>
                  </a:cubicBezTo>
                  <a:cubicBezTo>
                    <a:pt x="247" y="137"/>
                    <a:pt x="250" y="140"/>
                    <a:pt x="246" y="145"/>
                  </a:cubicBezTo>
                  <a:cubicBezTo>
                    <a:pt x="242" y="149"/>
                    <a:pt x="236" y="147"/>
                    <a:pt x="238" y="145"/>
                  </a:cubicBezTo>
                  <a:cubicBezTo>
                    <a:pt x="240" y="142"/>
                    <a:pt x="243" y="131"/>
                    <a:pt x="241" y="131"/>
                  </a:cubicBezTo>
                  <a:cubicBezTo>
                    <a:pt x="240" y="130"/>
                    <a:pt x="232" y="129"/>
                    <a:pt x="229" y="130"/>
                  </a:cubicBezTo>
                  <a:cubicBezTo>
                    <a:pt x="227" y="131"/>
                    <a:pt x="219" y="131"/>
                    <a:pt x="224" y="126"/>
                  </a:cubicBezTo>
                  <a:cubicBezTo>
                    <a:pt x="230" y="121"/>
                    <a:pt x="230" y="120"/>
                    <a:pt x="224" y="117"/>
                  </a:cubicBezTo>
                  <a:cubicBezTo>
                    <a:pt x="219" y="113"/>
                    <a:pt x="213" y="113"/>
                    <a:pt x="207" y="118"/>
                  </a:cubicBezTo>
                  <a:cubicBezTo>
                    <a:pt x="201" y="122"/>
                    <a:pt x="201" y="129"/>
                    <a:pt x="196" y="138"/>
                  </a:cubicBezTo>
                  <a:cubicBezTo>
                    <a:pt x="192" y="147"/>
                    <a:pt x="194" y="147"/>
                    <a:pt x="196" y="151"/>
                  </a:cubicBezTo>
                  <a:cubicBezTo>
                    <a:pt x="199" y="155"/>
                    <a:pt x="193" y="156"/>
                    <a:pt x="190" y="157"/>
                  </a:cubicBezTo>
                  <a:cubicBezTo>
                    <a:pt x="187" y="157"/>
                    <a:pt x="183" y="158"/>
                    <a:pt x="183" y="162"/>
                  </a:cubicBezTo>
                  <a:cubicBezTo>
                    <a:pt x="184" y="166"/>
                    <a:pt x="183" y="167"/>
                    <a:pt x="180" y="168"/>
                  </a:cubicBezTo>
                  <a:cubicBezTo>
                    <a:pt x="177" y="169"/>
                    <a:pt x="174" y="174"/>
                    <a:pt x="170" y="177"/>
                  </a:cubicBezTo>
                  <a:cubicBezTo>
                    <a:pt x="167" y="180"/>
                    <a:pt x="161" y="176"/>
                    <a:pt x="159" y="172"/>
                  </a:cubicBezTo>
                  <a:cubicBezTo>
                    <a:pt x="156" y="168"/>
                    <a:pt x="141" y="173"/>
                    <a:pt x="136" y="176"/>
                  </a:cubicBezTo>
                  <a:cubicBezTo>
                    <a:pt x="132" y="180"/>
                    <a:pt x="139" y="184"/>
                    <a:pt x="135" y="185"/>
                  </a:cubicBezTo>
                  <a:cubicBezTo>
                    <a:pt x="131" y="186"/>
                    <a:pt x="123" y="191"/>
                    <a:pt x="118" y="191"/>
                  </a:cubicBezTo>
                  <a:cubicBezTo>
                    <a:pt x="113" y="190"/>
                    <a:pt x="107" y="197"/>
                    <a:pt x="103" y="202"/>
                  </a:cubicBezTo>
                  <a:cubicBezTo>
                    <a:pt x="99" y="207"/>
                    <a:pt x="97" y="203"/>
                    <a:pt x="92" y="203"/>
                  </a:cubicBezTo>
                  <a:cubicBezTo>
                    <a:pt x="86" y="203"/>
                    <a:pt x="91" y="209"/>
                    <a:pt x="91" y="213"/>
                  </a:cubicBezTo>
                  <a:cubicBezTo>
                    <a:pt x="92" y="217"/>
                    <a:pt x="85" y="218"/>
                    <a:pt x="83" y="216"/>
                  </a:cubicBezTo>
                  <a:cubicBezTo>
                    <a:pt x="81" y="214"/>
                    <a:pt x="77" y="219"/>
                    <a:pt x="80" y="222"/>
                  </a:cubicBezTo>
                  <a:cubicBezTo>
                    <a:pt x="84" y="225"/>
                    <a:pt x="85" y="228"/>
                    <a:pt x="81" y="228"/>
                  </a:cubicBezTo>
                  <a:cubicBezTo>
                    <a:pt x="77" y="228"/>
                    <a:pt x="83" y="235"/>
                    <a:pt x="85" y="236"/>
                  </a:cubicBezTo>
                  <a:cubicBezTo>
                    <a:pt x="87" y="236"/>
                    <a:pt x="96" y="244"/>
                    <a:pt x="84" y="245"/>
                  </a:cubicBezTo>
                  <a:cubicBezTo>
                    <a:pt x="71" y="247"/>
                    <a:pt x="68" y="249"/>
                    <a:pt x="63" y="250"/>
                  </a:cubicBezTo>
                  <a:cubicBezTo>
                    <a:pt x="58" y="250"/>
                    <a:pt x="47" y="249"/>
                    <a:pt x="37" y="249"/>
                  </a:cubicBezTo>
                  <a:cubicBezTo>
                    <a:pt x="27" y="248"/>
                    <a:pt x="25" y="257"/>
                    <a:pt x="29" y="265"/>
                  </a:cubicBezTo>
                  <a:cubicBezTo>
                    <a:pt x="34" y="272"/>
                    <a:pt x="27" y="275"/>
                    <a:pt x="29" y="282"/>
                  </a:cubicBezTo>
                  <a:cubicBezTo>
                    <a:pt x="31" y="288"/>
                    <a:pt x="39" y="292"/>
                    <a:pt x="43" y="297"/>
                  </a:cubicBezTo>
                  <a:cubicBezTo>
                    <a:pt x="47" y="301"/>
                    <a:pt x="56" y="311"/>
                    <a:pt x="52" y="316"/>
                  </a:cubicBezTo>
                  <a:cubicBezTo>
                    <a:pt x="49" y="321"/>
                    <a:pt x="47" y="325"/>
                    <a:pt x="48" y="330"/>
                  </a:cubicBezTo>
                  <a:cubicBezTo>
                    <a:pt x="48" y="335"/>
                    <a:pt x="51" y="347"/>
                    <a:pt x="48" y="348"/>
                  </a:cubicBezTo>
                  <a:cubicBezTo>
                    <a:pt x="46" y="350"/>
                    <a:pt x="44" y="361"/>
                    <a:pt x="42" y="357"/>
                  </a:cubicBezTo>
                  <a:cubicBezTo>
                    <a:pt x="40" y="353"/>
                    <a:pt x="43" y="348"/>
                    <a:pt x="44" y="339"/>
                  </a:cubicBezTo>
                  <a:cubicBezTo>
                    <a:pt x="46" y="330"/>
                    <a:pt x="42" y="335"/>
                    <a:pt x="40" y="332"/>
                  </a:cubicBezTo>
                  <a:cubicBezTo>
                    <a:pt x="39" y="330"/>
                    <a:pt x="40" y="327"/>
                    <a:pt x="45" y="320"/>
                  </a:cubicBezTo>
                  <a:cubicBezTo>
                    <a:pt x="49" y="313"/>
                    <a:pt x="49" y="312"/>
                    <a:pt x="47" y="309"/>
                  </a:cubicBezTo>
                  <a:cubicBezTo>
                    <a:pt x="44" y="305"/>
                    <a:pt x="35" y="309"/>
                    <a:pt x="32" y="306"/>
                  </a:cubicBezTo>
                  <a:cubicBezTo>
                    <a:pt x="28" y="303"/>
                    <a:pt x="24" y="296"/>
                    <a:pt x="21" y="289"/>
                  </a:cubicBezTo>
                  <a:cubicBezTo>
                    <a:pt x="19" y="285"/>
                    <a:pt x="12" y="284"/>
                    <a:pt x="6" y="285"/>
                  </a:cubicBezTo>
                  <a:cubicBezTo>
                    <a:pt x="5" y="293"/>
                    <a:pt x="5" y="293"/>
                    <a:pt x="5" y="29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22" y="304"/>
                    <a:pt x="22" y="304"/>
                    <a:pt x="22" y="304"/>
                  </a:cubicBezTo>
                  <a:cubicBezTo>
                    <a:pt x="19" y="312"/>
                    <a:pt x="19" y="312"/>
                    <a:pt x="19" y="312"/>
                  </a:cubicBezTo>
                  <a:cubicBezTo>
                    <a:pt x="15" y="311"/>
                    <a:pt x="15" y="311"/>
                    <a:pt x="15" y="311"/>
                  </a:cubicBezTo>
                  <a:cubicBezTo>
                    <a:pt x="9" y="319"/>
                    <a:pt x="9" y="319"/>
                    <a:pt x="9" y="319"/>
                  </a:cubicBezTo>
                  <a:cubicBezTo>
                    <a:pt x="13" y="324"/>
                    <a:pt x="13" y="324"/>
                    <a:pt x="13" y="324"/>
                  </a:cubicBezTo>
                  <a:cubicBezTo>
                    <a:pt x="21" y="329"/>
                    <a:pt x="21" y="329"/>
                    <a:pt x="21" y="329"/>
                  </a:cubicBezTo>
                  <a:cubicBezTo>
                    <a:pt x="21" y="348"/>
                    <a:pt x="21" y="348"/>
                    <a:pt x="21" y="348"/>
                  </a:cubicBezTo>
                  <a:cubicBezTo>
                    <a:pt x="14" y="349"/>
                    <a:pt x="14" y="349"/>
                    <a:pt x="14" y="34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8" y="380"/>
                    <a:pt x="8" y="380"/>
                    <a:pt x="8" y="380"/>
                  </a:cubicBezTo>
                  <a:cubicBezTo>
                    <a:pt x="14" y="380"/>
                    <a:pt x="14" y="380"/>
                    <a:pt x="14" y="380"/>
                  </a:cubicBezTo>
                  <a:cubicBezTo>
                    <a:pt x="15" y="382"/>
                    <a:pt x="15" y="382"/>
                    <a:pt x="15" y="382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21" y="383"/>
                    <a:pt x="21" y="383"/>
                    <a:pt x="21" y="383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1" y="381"/>
                    <a:pt x="31" y="381"/>
                    <a:pt x="31" y="381"/>
                  </a:cubicBezTo>
                  <a:cubicBezTo>
                    <a:pt x="31" y="381"/>
                    <a:pt x="31" y="386"/>
                    <a:pt x="31" y="387"/>
                  </a:cubicBezTo>
                  <a:cubicBezTo>
                    <a:pt x="31" y="388"/>
                    <a:pt x="33" y="388"/>
                    <a:pt x="33" y="388"/>
                  </a:cubicBezTo>
                  <a:cubicBezTo>
                    <a:pt x="34" y="393"/>
                    <a:pt x="34" y="393"/>
                    <a:pt x="34" y="393"/>
                  </a:cubicBezTo>
                  <a:cubicBezTo>
                    <a:pt x="37" y="403"/>
                    <a:pt x="37" y="403"/>
                    <a:pt x="37" y="403"/>
                  </a:cubicBezTo>
                  <a:cubicBezTo>
                    <a:pt x="33" y="407"/>
                    <a:pt x="33" y="407"/>
                    <a:pt x="33" y="407"/>
                  </a:cubicBezTo>
                  <a:cubicBezTo>
                    <a:pt x="35" y="416"/>
                    <a:pt x="35" y="416"/>
                    <a:pt x="35" y="416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4" y="426"/>
                    <a:pt x="24" y="426"/>
                    <a:pt x="24" y="426"/>
                  </a:cubicBezTo>
                  <a:cubicBezTo>
                    <a:pt x="24" y="434"/>
                    <a:pt x="24" y="434"/>
                    <a:pt x="24" y="434"/>
                  </a:cubicBezTo>
                  <a:cubicBezTo>
                    <a:pt x="30" y="439"/>
                    <a:pt x="30" y="439"/>
                    <a:pt x="30" y="439"/>
                  </a:cubicBezTo>
                  <a:cubicBezTo>
                    <a:pt x="24" y="446"/>
                    <a:pt x="24" y="446"/>
                    <a:pt x="24" y="446"/>
                  </a:cubicBezTo>
                  <a:cubicBezTo>
                    <a:pt x="27" y="449"/>
                    <a:pt x="27" y="449"/>
                    <a:pt x="27" y="449"/>
                  </a:cubicBezTo>
                  <a:cubicBezTo>
                    <a:pt x="28" y="455"/>
                    <a:pt x="28" y="455"/>
                    <a:pt x="28" y="455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8" y="463"/>
                    <a:pt x="38" y="463"/>
                    <a:pt x="38" y="463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7" y="482"/>
                    <a:pt x="37" y="482"/>
                    <a:pt x="37" y="482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5" y="492"/>
                    <a:pt x="35" y="492"/>
                    <a:pt x="35" y="492"/>
                  </a:cubicBezTo>
                  <a:cubicBezTo>
                    <a:pt x="41" y="491"/>
                    <a:pt x="41" y="491"/>
                    <a:pt x="41" y="491"/>
                  </a:cubicBezTo>
                  <a:cubicBezTo>
                    <a:pt x="47" y="497"/>
                    <a:pt x="47" y="497"/>
                    <a:pt x="47" y="497"/>
                  </a:cubicBezTo>
                  <a:cubicBezTo>
                    <a:pt x="50" y="508"/>
                    <a:pt x="50" y="508"/>
                    <a:pt x="50" y="508"/>
                  </a:cubicBezTo>
                  <a:cubicBezTo>
                    <a:pt x="44" y="514"/>
                    <a:pt x="44" y="514"/>
                    <a:pt x="44" y="514"/>
                  </a:cubicBezTo>
                  <a:cubicBezTo>
                    <a:pt x="47" y="520"/>
                    <a:pt x="47" y="520"/>
                    <a:pt x="47" y="520"/>
                  </a:cubicBezTo>
                  <a:cubicBezTo>
                    <a:pt x="53" y="520"/>
                    <a:pt x="53" y="520"/>
                    <a:pt x="53" y="520"/>
                  </a:cubicBezTo>
                  <a:cubicBezTo>
                    <a:pt x="59" y="525"/>
                    <a:pt x="59" y="525"/>
                    <a:pt x="59" y="525"/>
                  </a:cubicBezTo>
                  <a:cubicBezTo>
                    <a:pt x="63" y="521"/>
                    <a:pt x="63" y="521"/>
                    <a:pt x="63" y="521"/>
                  </a:cubicBezTo>
                  <a:cubicBezTo>
                    <a:pt x="63" y="536"/>
                    <a:pt x="63" y="536"/>
                    <a:pt x="63" y="536"/>
                  </a:cubicBezTo>
                  <a:cubicBezTo>
                    <a:pt x="66" y="542"/>
                    <a:pt x="66" y="542"/>
                    <a:pt x="66" y="542"/>
                  </a:cubicBezTo>
                  <a:cubicBezTo>
                    <a:pt x="57" y="550"/>
                    <a:pt x="57" y="550"/>
                    <a:pt x="57" y="550"/>
                  </a:cubicBezTo>
                  <a:cubicBezTo>
                    <a:pt x="51" y="559"/>
                    <a:pt x="51" y="559"/>
                    <a:pt x="51" y="559"/>
                  </a:cubicBezTo>
                  <a:cubicBezTo>
                    <a:pt x="57" y="566"/>
                    <a:pt x="57" y="566"/>
                    <a:pt x="57" y="566"/>
                  </a:cubicBezTo>
                  <a:cubicBezTo>
                    <a:pt x="58" y="575"/>
                    <a:pt x="58" y="575"/>
                    <a:pt x="58" y="575"/>
                  </a:cubicBezTo>
                  <a:cubicBezTo>
                    <a:pt x="52" y="579"/>
                    <a:pt x="52" y="579"/>
                    <a:pt x="52" y="579"/>
                  </a:cubicBezTo>
                  <a:cubicBezTo>
                    <a:pt x="51" y="587"/>
                    <a:pt x="51" y="587"/>
                    <a:pt x="51" y="587"/>
                  </a:cubicBezTo>
                  <a:cubicBezTo>
                    <a:pt x="41" y="597"/>
                    <a:pt x="41" y="597"/>
                    <a:pt x="41" y="597"/>
                  </a:cubicBezTo>
                  <a:cubicBezTo>
                    <a:pt x="41" y="608"/>
                    <a:pt x="41" y="608"/>
                    <a:pt x="41" y="608"/>
                  </a:cubicBezTo>
                  <a:cubicBezTo>
                    <a:pt x="58" y="619"/>
                    <a:pt x="58" y="619"/>
                    <a:pt x="58" y="619"/>
                  </a:cubicBezTo>
                  <a:cubicBezTo>
                    <a:pt x="51" y="629"/>
                    <a:pt x="51" y="629"/>
                    <a:pt x="51" y="629"/>
                  </a:cubicBezTo>
                  <a:cubicBezTo>
                    <a:pt x="44" y="631"/>
                    <a:pt x="44" y="631"/>
                    <a:pt x="44" y="631"/>
                  </a:cubicBezTo>
                  <a:cubicBezTo>
                    <a:pt x="34" y="639"/>
                    <a:pt x="34" y="639"/>
                    <a:pt x="34" y="639"/>
                  </a:cubicBezTo>
                  <a:cubicBezTo>
                    <a:pt x="41" y="654"/>
                    <a:pt x="41" y="654"/>
                    <a:pt x="41" y="654"/>
                  </a:cubicBezTo>
                  <a:cubicBezTo>
                    <a:pt x="35" y="660"/>
                    <a:pt x="35" y="660"/>
                    <a:pt x="35" y="660"/>
                  </a:cubicBezTo>
                  <a:cubicBezTo>
                    <a:pt x="38" y="667"/>
                    <a:pt x="38" y="667"/>
                    <a:pt x="38" y="667"/>
                  </a:cubicBezTo>
                  <a:cubicBezTo>
                    <a:pt x="45" y="669"/>
                    <a:pt x="45" y="669"/>
                    <a:pt x="45" y="669"/>
                  </a:cubicBezTo>
                  <a:cubicBezTo>
                    <a:pt x="50" y="667"/>
                    <a:pt x="50" y="667"/>
                    <a:pt x="50" y="667"/>
                  </a:cubicBezTo>
                  <a:cubicBezTo>
                    <a:pt x="71" y="666"/>
                    <a:pt x="71" y="666"/>
                    <a:pt x="71" y="666"/>
                  </a:cubicBezTo>
                  <a:cubicBezTo>
                    <a:pt x="83" y="681"/>
                    <a:pt x="83" y="681"/>
                    <a:pt x="83" y="681"/>
                  </a:cubicBezTo>
                  <a:cubicBezTo>
                    <a:pt x="84" y="689"/>
                    <a:pt x="84" y="689"/>
                    <a:pt x="84" y="689"/>
                  </a:cubicBezTo>
                  <a:cubicBezTo>
                    <a:pt x="94" y="689"/>
                    <a:pt x="94" y="689"/>
                    <a:pt x="94" y="689"/>
                  </a:cubicBezTo>
                  <a:cubicBezTo>
                    <a:pt x="98" y="693"/>
                    <a:pt x="98" y="693"/>
                    <a:pt x="98" y="693"/>
                  </a:cubicBezTo>
                  <a:cubicBezTo>
                    <a:pt x="85" y="710"/>
                    <a:pt x="85" y="710"/>
                    <a:pt x="85" y="710"/>
                  </a:cubicBezTo>
                  <a:cubicBezTo>
                    <a:pt x="88" y="721"/>
                    <a:pt x="88" y="721"/>
                    <a:pt x="88" y="721"/>
                  </a:cubicBezTo>
                  <a:cubicBezTo>
                    <a:pt x="90" y="726"/>
                    <a:pt x="90" y="726"/>
                    <a:pt x="90" y="726"/>
                  </a:cubicBezTo>
                  <a:cubicBezTo>
                    <a:pt x="99" y="726"/>
                    <a:pt x="99" y="726"/>
                    <a:pt x="99" y="726"/>
                  </a:cubicBezTo>
                  <a:cubicBezTo>
                    <a:pt x="105" y="730"/>
                    <a:pt x="105" y="730"/>
                    <a:pt x="105" y="730"/>
                  </a:cubicBezTo>
                  <a:cubicBezTo>
                    <a:pt x="107" y="737"/>
                    <a:pt x="107" y="737"/>
                    <a:pt x="107" y="737"/>
                  </a:cubicBezTo>
                  <a:cubicBezTo>
                    <a:pt x="100" y="739"/>
                    <a:pt x="100" y="739"/>
                    <a:pt x="100" y="739"/>
                  </a:cubicBezTo>
                  <a:cubicBezTo>
                    <a:pt x="95" y="747"/>
                    <a:pt x="95" y="747"/>
                    <a:pt x="95" y="747"/>
                  </a:cubicBezTo>
                  <a:cubicBezTo>
                    <a:pt x="93" y="758"/>
                    <a:pt x="93" y="758"/>
                    <a:pt x="93" y="758"/>
                  </a:cubicBezTo>
                  <a:close/>
                  <a:moveTo>
                    <a:pt x="188" y="63"/>
                  </a:moveTo>
                  <a:cubicBezTo>
                    <a:pt x="184" y="67"/>
                    <a:pt x="185" y="71"/>
                    <a:pt x="185" y="74"/>
                  </a:cubicBezTo>
                  <a:cubicBezTo>
                    <a:pt x="185" y="76"/>
                    <a:pt x="184" y="86"/>
                    <a:pt x="182" y="91"/>
                  </a:cubicBezTo>
                  <a:cubicBezTo>
                    <a:pt x="180" y="97"/>
                    <a:pt x="179" y="105"/>
                    <a:pt x="179" y="109"/>
                  </a:cubicBezTo>
                  <a:cubicBezTo>
                    <a:pt x="179" y="112"/>
                    <a:pt x="186" y="111"/>
                    <a:pt x="190" y="106"/>
                  </a:cubicBezTo>
                  <a:cubicBezTo>
                    <a:pt x="194" y="101"/>
                    <a:pt x="198" y="100"/>
                    <a:pt x="203" y="100"/>
                  </a:cubicBezTo>
                  <a:cubicBezTo>
                    <a:pt x="207" y="100"/>
                    <a:pt x="216" y="90"/>
                    <a:pt x="216" y="87"/>
                  </a:cubicBezTo>
                  <a:cubicBezTo>
                    <a:pt x="217" y="83"/>
                    <a:pt x="209" y="73"/>
                    <a:pt x="206" y="70"/>
                  </a:cubicBezTo>
                  <a:cubicBezTo>
                    <a:pt x="203" y="66"/>
                    <a:pt x="199" y="68"/>
                    <a:pt x="198" y="68"/>
                  </a:cubicBezTo>
                  <a:cubicBezTo>
                    <a:pt x="198" y="69"/>
                    <a:pt x="196" y="69"/>
                    <a:pt x="196" y="66"/>
                  </a:cubicBezTo>
                  <a:cubicBezTo>
                    <a:pt x="195" y="63"/>
                    <a:pt x="193" y="62"/>
                    <a:pt x="191" y="62"/>
                  </a:cubicBezTo>
                  <a:cubicBezTo>
                    <a:pt x="189" y="61"/>
                    <a:pt x="188" y="63"/>
                    <a:pt x="188" y="63"/>
                  </a:cubicBezTo>
                  <a:close/>
                  <a:moveTo>
                    <a:pt x="138" y="50"/>
                  </a:moveTo>
                  <a:cubicBezTo>
                    <a:pt x="136" y="51"/>
                    <a:pt x="135" y="58"/>
                    <a:pt x="132" y="57"/>
                  </a:cubicBezTo>
                  <a:cubicBezTo>
                    <a:pt x="130" y="56"/>
                    <a:pt x="122" y="53"/>
                    <a:pt x="120" y="51"/>
                  </a:cubicBezTo>
                  <a:cubicBezTo>
                    <a:pt x="118" y="49"/>
                    <a:pt x="120" y="44"/>
                    <a:pt x="124" y="45"/>
                  </a:cubicBezTo>
                  <a:cubicBezTo>
                    <a:pt x="128" y="45"/>
                    <a:pt x="133" y="45"/>
                    <a:pt x="128" y="39"/>
                  </a:cubicBezTo>
                  <a:cubicBezTo>
                    <a:pt x="124" y="34"/>
                    <a:pt x="123" y="35"/>
                    <a:pt x="128" y="29"/>
                  </a:cubicBezTo>
                  <a:cubicBezTo>
                    <a:pt x="132" y="24"/>
                    <a:pt x="131" y="20"/>
                    <a:pt x="130" y="16"/>
                  </a:cubicBezTo>
                  <a:cubicBezTo>
                    <a:pt x="130" y="12"/>
                    <a:pt x="141" y="12"/>
                    <a:pt x="141" y="9"/>
                  </a:cubicBezTo>
                  <a:cubicBezTo>
                    <a:pt x="142" y="5"/>
                    <a:pt x="143" y="0"/>
                    <a:pt x="148" y="7"/>
                  </a:cubicBezTo>
                  <a:cubicBezTo>
                    <a:pt x="152" y="13"/>
                    <a:pt x="154" y="16"/>
                    <a:pt x="157" y="17"/>
                  </a:cubicBezTo>
                  <a:cubicBezTo>
                    <a:pt x="160" y="18"/>
                    <a:pt x="156" y="21"/>
                    <a:pt x="155" y="24"/>
                  </a:cubicBezTo>
                  <a:cubicBezTo>
                    <a:pt x="154" y="27"/>
                    <a:pt x="157" y="33"/>
                    <a:pt x="156" y="34"/>
                  </a:cubicBezTo>
                  <a:cubicBezTo>
                    <a:pt x="156" y="36"/>
                    <a:pt x="146" y="39"/>
                    <a:pt x="145" y="40"/>
                  </a:cubicBezTo>
                  <a:cubicBezTo>
                    <a:pt x="145" y="41"/>
                    <a:pt x="153" y="41"/>
                    <a:pt x="156" y="39"/>
                  </a:cubicBezTo>
                  <a:cubicBezTo>
                    <a:pt x="160" y="37"/>
                    <a:pt x="160" y="38"/>
                    <a:pt x="160" y="42"/>
                  </a:cubicBezTo>
                  <a:cubicBezTo>
                    <a:pt x="160" y="45"/>
                    <a:pt x="166" y="48"/>
                    <a:pt x="167" y="45"/>
                  </a:cubicBezTo>
                  <a:cubicBezTo>
                    <a:pt x="167" y="42"/>
                    <a:pt x="173" y="44"/>
                    <a:pt x="175" y="50"/>
                  </a:cubicBezTo>
                  <a:cubicBezTo>
                    <a:pt x="177" y="57"/>
                    <a:pt x="175" y="63"/>
                    <a:pt x="175" y="66"/>
                  </a:cubicBezTo>
                  <a:cubicBezTo>
                    <a:pt x="175" y="69"/>
                    <a:pt x="178" y="72"/>
                    <a:pt x="178" y="76"/>
                  </a:cubicBezTo>
                  <a:cubicBezTo>
                    <a:pt x="178" y="80"/>
                    <a:pt x="170" y="84"/>
                    <a:pt x="166" y="85"/>
                  </a:cubicBezTo>
                  <a:cubicBezTo>
                    <a:pt x="163" y="85"/>
                    <a:pt x="153" y="75"/>
                    <a:pt x="148" y="76"/>
                  </a:cubicBezTo>
                  <a:cubicBezTo>
                    <a:pt x="143" y="77"/>
                    <a:pt x="142" y="71"/>
                    <a:pt x="140" y="68"/>
                  </a:cubicBezTo>
                  <a:cubicBezTo>
                    <a:pt x="138" y="64"/>
                    <a:pt x="136" y="66"/>
                    <a:pt x="136" y="61"/>
                  </a:cubicBezTo>
                  <a:cubicBezTo>
                    <a:pt x="137" y="57"/>
                    <a:pt x="141" y="54"/>
                    <a:pt x="141" y="52"/>
                  </a:cubicBezTo>
                  <a:cubicBezTo>
                    <a:pt x="140" y="50"/>
                    <a:pt x="138" y="50"/>
                    <a:pt x="138" y="50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6" name="Краснодарский край">
              <a:extLst>
                <a:ext uri="{FF2B5EF4-FFF2-40B4-BE49-F238E27FC236}">
                  <a16:creationId xmlns:a16="http://schemas.microsoft.com/office/drawing/2014/main" id="{3DA65BD5-2CC9-37D7-D12A-F3FAA4133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80" y="4935286"/>
              <a:ext cx="475059" cy="526068"/>
            </a:xfrm>
            <a:custGeom>
              <a:avLst/>
              <a:gdLst>
                <a:gd name="T0" fmla="*/ 88 w 89"/>
                <a:gd name="T1" fmla="*/ 67 h 111"/>
                <a:gd name="T2" fmla="*/ 80 w 89"/>
                <a:gd name="T3" fmla="*/ 70 h 111"/>
                <a:gd name="T4" fmla="*/ 71 w 89"/>
                <a:gd name="T5" fmla="*/ 68 h 111"/>
                <a:gd name="T6" fmla="*/ 70 w 89"/>
                <a:gd name="T7" fmla="*/ 75 h 111"/>
                <a:gd name="T8" fmla="*/ 72 w 89"/>
                <a:gd name="T9" fmla="*/ 81 h 111"/>
                <a:gd name="T10" fmla="*/ 72 w 89"/>
                <a:gd name="T11" fmla="*/ 86 h 111"/>
                <a:gd name="T12" fmla="*/ 74 w 89"/>
                <a:gd name="T13" fmla="*/ 92 h 111"/>
                <a:gd name="T14" fmla="*/ 65 w 89"/>
                <a:gd name="T15" fmla="*/ 97 h 111"/>
                <a:gd name="T16" fmla="*/ 64 w 89"/>
                <a:gd name="T17" fmla="*/ 106 h 111"/>
                <a:gd name="T18" fmla="*/ 59 w 89"/>
                <a:gd name="T19" fmla="*/ 111 h 111"/>
                <a:gd name="T20" fmla="*/ 51 w 89"/>
                <a:gd name="T21" fmla="*/ 109 h 111"/>
                <a:gd name="T22" fmla="*/ 46 w 89"/>
                <a:gd name="T23" fmla="*/ 103 h 111"/>
                <a:gd name="T24" fmla="*/ 39 w 89"/>
                <a:gd name="T25" fmla="*/ 107 h 111"/>
                <a:gd name="T26" fmla="*/ 33 w 89"/>
                <a:gd name="T27" fmla="*/ 110 h 111"/>
                <a:gd name="T28" fmla="*/ 31 w 89"/>
                <a:gd name="T29" fmla="*/ 111 h 111"/>
                <a:gd name="T30" fmla="*/ 22 w 89"/>
                <a:gd name="T31" fmla="*/ 103 h 111"/>
                <a:gd name="T32" fmla="*/ 18 w 89"/>
                <a:gd name="T33" fmla="*/ 104 h 111"/>
                <a:gd name="T34" fmla="*/ 18 w 89"/>
                <a:gd name="T35" fmla="*/ 98 h 111"/>
                <a:gd name="T36" fmla="*/ 17 w 89"/>
                <a:gd name="T37" fmla="*/ 74 h 111"/>
                <a:gd name="T38" fmla="*/ 8 w 89"/>
                <a:gd name="T39" fmla="*/ 55 h 111"/>
                <a:gd name="T40" fmla="*/ 7 w 89"/>
                <a:gd name="T41" fmla="*/ 42 h 111"/>
                <a:gd name="T42" fmla="*/ 2 w 89"/>
                <a:gd name="T43" fmla="*/ 32 h 111"/>
                <a:gd name="T44" fmla="*/ 3 w 89"/>
                <a:gd name="T45" fmla="*/ 22 h 111"/>
                <a:gd name="T46" fmla="*/ 6 w 89"/>
                <a:gd name="T47" fmla="*/ 14 h 111"/>
                <a:gd name="T48" fmla="*/ 13 w 89"/>
                <a:gd name="T49" fmla="*/ 21 h 111"/>
                <a:gd name="T50" fmla="*/ 21 w 89"/>
                <a:gd name="T51" fmla="*/ 25 h 111"/>
                <a:gd name="T52" fmla="*/ 26 w 89"/>
                <a:gd name="T53" fmla="*/ 19 h 111"/>
                <a:gd name="T54" fmla="*/ 38 w 89"/>
                <a:gd name="T55" fmla="*/ 18 h 111"/>
                <a:gd name="T56" fmla="*/ 47 w 89"/>
                <a:gd name="T57" fmla="*/ 18 h 111"/>
                <a:gd name="T58" fmla="*/ 43 w 89"/>
                <a:gd name="T59" fmla="*/ 4 h 111"/>
                <a:gd name="T60" fmla="*/ 54 w 89"/>
                <a:gd name="T61" fmla="*/ 5 h 111"/>
                <a:gd name="T62" fmla="*/ 61 w 89"/>
                <a:gd name="T63" fmla="*/ 3 h 111"/>
                <a:gd name="T64" fmla="*/ 61 w 89"/>
                <a:gd name="T65" fmla="*/ 3 h 111"/>
                <a:gd name="T66" fmla="*/ 64 w 89"/>
                <a:gd name="T67" fmla="*/ 20 h 111"/>
                <a:gd name="T68" fmla="*/ 72 w 89"/>
                <a:gd name="T69" fmla="*/ 21 h 111"/>
                <a:gd name="T70" fmla="*/ 82 w 89"/>
                <a:gd name="T71" fmla="*/ 31 h 111"/>
                <a:gd name="T72" fmla="*/ 80 w 89"/>
                <a:gd name="T73" fmla="*/ 35 h 111"/>
                <a:gd name="T74" fmla="*/ 78 w 89"/>
                <a:gd name="T75" fmla="*/ 43 h 111"/>
                <a:gd name="T76" fmla="*/ 89 w 89"/>
                <a:gd name="T77" fmla="*/ 55 h 111"/>
                <a:gd name="T78" fmla="*/ 88 w 89"/>
                <a:gd name="T79" fmla="*/ 67 h 111"/>
                <a:gd name="T80" fmla="*/ 28 w 89"/>
                <a:gd name="T81" fmla="*/ 53 h 111"/>
                <a:gd name="T82" fmla="*/ 29 w 89"/>
                <a:gd name="T83" fmla="*/ 62 h 111"/>
                <a:gd name="T84" fmla="*/ 36 w 89"/>
                <a:gd name="T85" fmla="*/ 67 h 111"/>
                <a:gd name="T86" fmla="*/ 44 w 89"/>
                <a:gd name="T87" fmla="*/ 71 h 111"/>
                <a:gd name="T88" fmla="*/ 38 w 89"/>
                <a:gd name="T89" fmla="*/ 76 h 111"/>
                <a:gd name="T90" fmla="*/ 36 w 89"/>
                <a:gd name="T91" fmla="*/ 84 h 111"/>
                <a:gd name="T92" fmla="*/ 34 w 89"/>
                <a:gd name="T93" fmla="*/ 90 h 111"/>
                <a:gd name="T94" fmla="*/ 24 w 89"/>
                <a:gd name="T95" fmla="*/ 91 h 111"/>
                <a:gd name="T96" fmla="*/ 30 w 89"/>
                <a:gd name="T97" fmla="*/ 101 h 111"/>
                <a:gd name="T98" fmla="*/ 39 w 89"/>
                <a:gd name="T99" fmla="*/ 94 h 111"/>
                <a:gd name="T100" fmla="*/ 50 w 89"/>
                <a:gd name="T101" fmla="*/ 85 h 111"/>
                <a:gd name="T102" fmla="*/ 54 w 89"/>
                <a:gd name="T103" fmla="*/ 79 h 111"/>
                <a:gd name="T104" fmla="*/ 50 w 89"/>
                <a:gd name="T105" fmla="*/ 67 h 111"/>
                <a:gd name="T106" fmla="*/ 43 w 89"/>
                <a:gd name="T107" fmla="*/ 60 h 111"/>
                <a:gd name="T108" fmla="*/ 34 w 89"/>
                <a:gd name="T109" fmla="*/ 55 h 111"/>
                <a:gd name="T110" fmla="*/ 28 w 89"/>
                <a:gd name="T111" fmla="*/ 5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" h="111">
                  <a:moveTo>
                    <a:pt x="88" y="67"/>
                  </a:moveTo>
                  <a:cubicBezTo>
                    <a:pt x="85" y="68"/>
                    <a:pt x="82" y="71"/>
                    <a:pt x="80" y="70"/>
                  </a:cubicBezTo>
                  <a:cubicBezTo>
                    <a:pt x="77" y="69"/>
                    <a:pt x="74" y="65"/>
                    <a:pt x="71" y="68"/>
                  </a:cubicBezTo>
                  <a:cubicBezTo>
                    <a:pt x="68" y="71"/>
                    <a:pt x="72" y="74"/>
                    <a:pt x="70" y="75"/>
                  </a:cubicBezTo>
                  <a:cubicBezTo>
                    <a:pt x="68" y="77"/>
                    <a:pt x="71" y="80"/>
                    <a:pt x="72" y="81"/>
                  </a:cubicBezTo>
                  <a:cubicBezTo>
                    <a:pt x="73" y="82"/>
                    <a:pt x="73" y="85"/>
                    <a:pt x="72" y="86"/>
                  </a:cubicBezTo>
                  <a:cubicBezTo>
                    <a:pt x="71" y="88"/>
                    <a:pt x="75" y="91"/>
                    <a:pt x="74" y="92"/>
                  </a:cubicBezTo>
                  <a:cubicBezTo>
                    <a:pt x="73" y="93"/>
                    <a:pt x="65" y="97"/>
                    <a:pt x="65" y="97"/>
                  </a:cubicBezTo>
                  <a:cubicBezTo>
                    <a:pt x="65" y="97"/>
                    <a:pt x="66" y="104"/>
                    <a:pt x="64" y="106"/>
                  </a:cubicBezTo>
                  <a:cubicBezTo>
                    <a:pt x="63" y="109"/>
                    <a:pt x="60" y="111"/>
                    <a:pt x="59" y="111"/>
                  </a:cubicBezTo>
                  <a:cubicBezTo>
                    <a:pt x="57" y="111"/>
                    <a:pt x="52" y="111"/>
                    <a:pt x="51" y="109"/>
                  </a:cubicBezTo>
                  <a:cubicBezTo>
                    <a:pt x="50" y="108"/>
                    <a:pt x="48" y="103"/>
                    <a:pt x="46" y="103"/>
                  </a:cubicBezTo>
                  <a:cubicBezTo>
                    <a:pt x="44" y="104"/>
                    <a:pt x="40" y="106"/>
                    <a:pt x="39" y="107"/>
                  </a:cubicBezTo>
                  <a:cubicBezTo>
                    <a:pt x="38" y="107"/>
                    <a:pt x="34" y="108"/>
                    <a:pt x="33" y="110"/>
                  </a:cubicBezTo>
                  <a:cubicBezTo>
                    <a:pt x="32" y="110"/>
                    <a:pt x="32" y="111"/>
                    <a:pt x="31" y="111"/>
                  </a:cubicBezTo>
                  <a:cubicBezTo>
                    <a:pt x="28" y="108"/>
                    <a:pt x="24" y="105"/>
                    <a:pt x="22" y="103"/>
                  </a:cubicBezTo>
                  <a:cubicBezTo>
                    <a:pt x="22" y="102"/>
                    <a:pt x="20" y="103"/>
                    <a:pt x="18" y="104"/>
                  </a:cubicBezTo>
                  <a:cubicBezTo>
                    <a:pt x="18" y="102"/>
                    <a:pt x="18" y="100"/>
                    <a:pt x="18" y="98"/>
                  </a:cubicBezTo>
                  <a:cubicBezTo>
                    <a:pt x="18" y="93"/>
                    <a:pt x="18" y="80"/>
                    <a:pt x="17" y="74"/>
                  </a:cubicBezTo>
                  <a:cubicBezTo>
                    <a:pt x="17" y="69"/>
                    <a:pt x="9" y="58"/>
                    <a:pt x="8" y="55"/>
                  </a:cubicBezTo>
                  <a:cubicBezTo>
                    <a:pt x="8" y="51"/>
                    <a:pt x="11" y="46"/>
                    <a:pt x="7" y="42"/>
                  </a:cubicBezTo>
                  <a:cubicBezTo>
                    <a:pt x="4" y="39"/>
                    <a:pt x="0" y="36"/>
                    <a:pt x="2" y="32"/>
                  </a:cubicBezTo>
                  <a:cubicBezTo>
                    <a:pt x="4" y="28"/>
                    <a:pt x="6" y="25"/>
                    <a:pt x="3" y="22"/>
                  </a:cubicBezTo>
                  <a:cubicBezTo>
                    <a:pt x="0" y="19"/>
                    <a:pt x="4" y="14"/>
                    <a:pt x="6" y="14"/>
                  </a:cubicBezTo>
                  <a:cubicBezTo>
                    <a:pt x="9" y="14"/>
                    <a:pt x="12" y="17"/>
                    <a:pt x="13" y="21"/>
                  </a:cubicBezTo>
                  <a:cubicBezTo>
                    <a:pt x="14" y="26"/>
                    <a:pt x="21" y="29"/>
                    <a:pt x="21" y="25"/>
                  </a:cubicBezTo>
                  <a:cubicBezTo>
                    <a:pt x="22" y="21"/>
                    <a:pt x="22" y="19"/>
                    <a:pt x="26" y="19"/>
                  </a:cubicBezTo>
                  <a:cubicBezTo>
                    <a:pt x="30" y="19"/>
                    <a:pt x="35" y="20"/>
                    <a:pt x="38" y="18"/>
                  </a:cubicBezTo>
                  <a:cubicBezTo>
                    <a:pt x="41" y="16"/>
                    <a:pt x="48" y="25"/>
                    <a:pt x="47" y="18"/>
                  </a:cubicBezTo>
                  <a:cubicBezTo>
                    <a:pt x="45" y="11"/>
                    <a:pt x="41" y="7"/>
                    <a:pt x="43" y="4"/>
                  </a:cubicBezTo>
                  <a:cubicBezTo>
                    <a:pt x="46" y="1"/>
                    <a:pt x="54" y="0"/>
                    <a:pt x="54" y="5"/>
                  </a:cubicBezTo>
                  <a:cubicBezTo>
                    <a:pt x="55" y="9"/>
                    <a:pt x="59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8"/>
                    <a:pt x="64" y="19"/>
                    <a:pt x="64" y="20"/>
                  </a:cubicBezTo>
                  <a:cubicBezTo>
                    <a:pt x="65" y="22"/>
                    <a:pt x="70" y="22"/>
                    <a:pt x="72" y="21"/>
                  </a:cubicBezTo>
                  <a:cubicBezTo>
                    <a:pt x="75" y="20"/>
                    <a:pt x="82" y="31"/>
                    <a:pt x="82" y="31"/>
                  </a:cubicBezTo>
                  <a:cubicBezTo>
                    <a:pt x="82" y="31"/>
                    <a:pt x="80" y="34"/>
                    <a:pt x="80" y="35"/>
                  </a:cubicBezTo>
                  <a:cubicBezTo>
                    <a:pt x="80" y="36"/>
                    <a:pt x="80" y="43"/>
                    <a:pt x="78" y="43"/>
                  </a:cubicBezTo>
                  <a:cubicBezTo>
                    <a:pt x="77" y="43"/>
                    <a:pt x="89" y="55"/>
                    <a:pt x="89" y="55"/>
                  </a:cubicBezTo>
                  <a:cubicBezTo>
                    <a:pt x="88" y="67"/>
                    <a:pt x="88" y="67"/>
                    <a:pt x="88" y="67"/>
                  </a:cubicBezTo>
                  <a:close/>
                  <a:moveTo>
                    <a:pt x="28" y="53"/>
                  </a:moveTo>
                  <a:cubicBezTo>
                    <a:pt x="27" y="59"/>
                    <a:pt x="28" y="60"/>
                    <a:pt x="29" y="62"/>
                  </a:cubicBezTo>
                  <a:cubicBezTo>
                    <a:pt x="30" y="65"/>
                    <a:pt x="32" y="66"/>
                    <a:pt x="36" y="67"/>
                  </a:cubicBezTo>
                  <a:cubicBezTo>
                    <a:pt x="40" y="68"/>
                    <a:pt x="45" y="67"/>
                    <a:pt x="44" y="71"/>
                  </a:cubicBezTo>
                  <a:cubicBezTo>
                    <a:pt x="43" y="75"/>
                    <a:pt x="41" y="73"/>
                    <a:pt x="38" y="76"/>
                  </a:cubicBezTo>
                  <a:cubicBezTo>
                    <a:pt x="36" y="79"/>
                    <a:pt x="36" y="83"/>
                    <a:pt x="36" y="84"/>
                  </a:cubicBezTo>
                  <a:cubicBezTo>
                    <a:pt x="37" y="85"/>
                    <a:pt x="39" y="90"/>
                    <a:pt x="34" y="90"/>
                  </a:cubicBezTo>
                  <a:cubicBezTo>
                    <a:pt x="29" y="90"/>
                    <a:pt x="24" y="88"/>
                    <a:pt x="24" y="91"/>
                  </a:cubicBezTo>
                  <a:cubicBezTo>
                    <a:pt x="24" y="93"/>
                    <a:pt x="30" y="101"/>
                    <a:pt x="30" y="101"/>
                  </a:cubicBezTo>
                  <a:cubicBezTo>
                    <a:pt x="30" y="101"/>
                    <a:pt x="37" y="98"/>
                    <a:pt x="39" y="94"/>
                  </a:cubicBezTo>
                  <a:cubicBezTo>
                    <a:pt x="41" y="89"/>
                    <a:pt x="49" y="81"/>
                    <a:pt x="50" y="85"/>
                  </a:cubicBezTo>
                  <a:cubicBezTo>
                    <a:pt x="51" y="88"/>
                    <a:pt x="54" y="84"/>
                    <a:pt x="54" y="79"/>
                  </a:cubicBezTo>
                  <a:cubicBezTo>
                    <a:pt x="55" y="73"/>
                    <a:pt x="55" y="72"/>
                    <a:pt x="50" y="67"/>
                  </a:cubicBezTo>
                  <a:cubicBezTo>
                    <a:pt x="45" y="62"/>
                    <a:pt x="49" y="61"/>
                    <a:pt x="43" y="60"/>
                  </a:cubicBezTo>
                  <a:cubicBezTo>
                    <a:pt x="38" y="59"/>
                    <a:pt x="34" y="57"/>
                    <a:pt x="34" y="55"/>
                  </a:cubicBezTo>
                  <a:cubicBezTo>
                    <a:pt x="34" y="53"/>
                    <a:pt x="28" y="53"/>
                    <a:pt x="28" y="53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5" name="Алтайский край">
              <a:extLst>
                <a:ext uri="{FF2B5EF4-FFF2-40B4-BE49-F238E27FC236}">
                  <a16:creationId xmlns:a16="http://schemas.microsoft.com/office/drawing/2014/main" id="{B7BE2308-EACF-3A12-32DA-79EF5774F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424" y="5627598"/>
              <a:ext cx="868386" cy="530622"/>
            </a:xfrm>
            <a:custGeom>
              <a:avLst/>
              <a:gdLst>
                <a:gd name="T0" fmla="*/ 132 w 163"/>
                <a:gd name="T1" fmla="*/ 0 h 112"/>
                <a:gd name="T2" fmla="*/ 135 w 163"/>
                <a:gd name="T3" fmla="*/ 8 h 112"/>
                <a:gd name="T4" fmla="*/ 143 w 163"/>
                <a:gd name="T5" fmla="*/ 10 h 112"/>
                <a:gd name="T6" fmla="*/ 146 w 163"/>
                <a:gd name="T7" fmla="*/ 18 h 112"/>
                <a:gd name="T8" fmla="*/ 150 w 163"/>
                <a:gd name="T9" fmla="*/ 27 h 112"/>
                <a:gd name="T10" fmla="*/ 163 w 163"/>
                <a:gd name="T11" fmla="*/ 31 h 112"/>
                <a:gd name="T12" fmla="*/ 161 w 163"/>
                <a:gd name="T13" fmla="*/ 36 h 112"/>
                <a:gd name="T14" fmla="*/ 154 w 163"/>
                <a:gd name="T15" fmla="*/ 37 h 112"/>
                <a:gd name="T16" fmla="*/ 159 w 163"/>
                <a:gd name="T17" fmla="*/ 47 h 112"/>
                <a:gd name="T18" fmla="*/ 161 w 163"/>
                <a:gd name="T19" fmla="*/ 55 h 112"/>
                <a:gd name="T20" fmla="*/ 154 w 163"/>
                <a:gd name="T21" fmla="*/ 60 h 112"/>
                <a:gd name="T22" fmla="*/ 158 w 163"/>
                <a:gd name="T23" fmla="*/ 66 h 112"/>
                <a:gd name="T24" fmla="*/ 152 w 163"/>
                <a:gd name="T25" fmla="*/ 73 h 112"/>
                <a:gd name="T26" fmla="*/ 147 w 163"/>
                <a:gd name="T27" fmla="*/ 75 h 112"/>
                <a:gd name="T28" fmla="*/ 142 w 163"/>
                <a:gd name="T29" fmla="*/ 71 h 112"/>
                <a:gd name="T30" fmla="*/ 138 w 163"/>
                <a:gd name="T31" fmla="*/ 74 h 112"/>
                <a:gd name="T32" fmla="*/ 137 w 163"/>
                <a:gd name="T33" fmla="*/ 81 h 112"/>
                <a:gd name="T34" fmla="*/ 128 w 163"/>
                <a:gd name="T35" fmla="*/ 89 h 112"/>
                <a:gd name="T36" fmla="*/ 121 w 163"/>
                <a:gd name="T37" fmla="*/ 89 h 112"/>
                <a:gd name="T38" fmla="*/ 104 w 163"/>
                <a:gd name="T39" fmla="*/ 96 h 112"/>
                <a:gd name="T40" fmla="*/ 111 w 163"/>
                <a:gd name="T41" fmla="*/ 104 h 112"/>
                <a:gd name="T42" fmla="*/ 113 w 163"/>
                <a:gd name="T43" fmla="*/ 111 h 112"/>
                <a:gd name="T44" fmla="*/ 105 w 163"/>
                <a:gd name="T45" fmla="*/ 112 h 112"/>
                <a:gd name="T46" fmla="*/ 100 w 163"/>
                <a:gd name="T47" fmla="*/ 104 h 112"/>
                <a:gd name="T48" fmla="*/ 84 w 163"/>
                <a:gd name="T49" fmla="*/ 99 h 112"/>
                <a:gd name="T50" fmla="*/ 71 w 163"/>
                <a:gd name="T51" fmla="*/ 104 h 112"/>
                <a:gd name="T52" fmla="*/ 59 w 163"/>
                <a:gd name="T53" fmla="*/ 101 h 112"/>
                <a:gd name="T54" fmla="*/ 50 w 163"/>
                <a:gd name="T55" fmla="*/ 96 h 112"/>
                <a:gd name="T56" fmla="*/ 49 w 163"/>
                <a:gd name="T57" fmla="*/ 87 h 112"/>
                <a:gd name="T58" fmla="*/ 41 w 163"/>
                <a:gd name="T59" fmla="*/ 85 h 112"/>
                <a:gd name="T60" fmla="*/ 38 w 163"/>
                <a:gd name="T61" fmla="*/ 93 h 112"/>
                <a:gd name="T62" fmla="*/ 29 w 163"/>
                <a:gd name="T63" fmla="*/ 96 h 112"/>
                <a:gd name="T64" fmla="*/ 9 w 163"/>
                <a:gd name="T65" fmla="*/ 40 h 112"/>
                <a:gd name="T66" fmla="*/ 0 w 163"/>
                <a:gd name="T67" fmla="*/ 17 h 112"/>
                <a:gd name="T68" fmla="*/ 7 w 163"/>
                <a:gd name="T69" fmla="*/ 10 h 112"/>
                <a:gd name="T70" fmla="*/ 12 w 163"/>
                <a:gd name="T71" fmla="*/ 15 h 112"/>
                <a:gd name="T72" fmla="*/ 17 w 163"/>
                <a:gd name="T73" fmla="*/ 13 h 112"/>
                <a:gd name="T74" fmla="*/ 23 w 163"/>
                <a:gd name="T75" fmla="*/ 11 h 112"/>
                <a:gd name="T76" fmla="*/ 34 w 163"/>
                <a:gd name="T77" fmla="*/ 11 h 112"/>
                <a:gd name="T78" fmla="*/ 42 w 163"/>
                <a:gd name="T79" fmla="*/ 4 h 112"/>
                <a:gd name="T80" fmla="*/ 53 w 163"/>
                <a:gd name="T81" fmla="*/ 0 h 112"/>
                <a:gd name="T82" fmla="*/ 62 w 163"/>
                <a:gd name="T83" fmla="*/ 0 h 112"/>
                <a:gd name="T84" fmla="*/ 70 w 163"/>
                <a:gd name="T85" fmla="*/ 9 h 112"/>
                <a:gd name="T86" fmla="*/ 70 w 163"/>
                <a:gd name="T87" fmla="*/ 16 h 112"/>
                <a:gd name="T88" fmla="*/ 84 w 163"/>
                <a:gd name="T89" fmla="*/ 26 h 112"/>
                <a:gd name="T90" fmla="*/ 88 w 163"/>
                <a:gd name="T91" fmla="*/ 18 h 112"/>
                <a:gd name="T92" fmla="*/ 95 w 163"/>
                <a:gd name="T93" fmla="*/ 8 h 112"/>
                <a:gd name="T94" fmla="*/ 100 w 163"/>
                <a:gd name="T95" fmla="*/ 13 h 112"/>
                <a:gd name="T96" fmla="*/ 104 w 163"/>
                <a:gd name="T97" fmla="*/ 8 h 112"/>
                <a:gd name="T98" fmla="*/ 109 w 163"/>
                <a:gd name="T99" fmla="*/ 11 h 112"/>
                <a:gd name="T100" fmla="*/ 114 w 163"/>
                <a:gd name="T101" fmla="*/ 7 h 112"/>
                <a:gd name="T102" fmla="*/ 123 w 163"/>
                <a:gd name="T103" fmla="*/ 7 h 112"/>
                <a:gd name="T104" fmla="*/ 132 w 163"/>
                <a:gd name="T10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3" h="112">
                  <a:moveTo>
                    <a:pt x="132" y="0"/>
                  </a:moveTo>
                  <a:cubicBezTo>
                    <a:pt x="135" y="8"/>
                    <a:pt x="135" y="8"/>
                    <a:pt x="135" y="8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47" y="75"/>
                    <a:pt x="147" y="75"/>
                    <a:pt x="147" y="75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4" y="110"/>
                    <a:pt x="103" y="107"/>
                    <a:pt x="100" y="104"/>
                  </a:cubicBezTo>
                  <a:cubicBezTo>
                    <a:pt x="93" y="98"/>
                    <a:pt x="86" y="96"/>
                    <a:pt x="84" y="99"/>
                  </a:cubicBezTo>
                  <a:cubicBezTo>
                    <a:pt x="82" y="101"/>
                    <a:pt x="75" y="105"/>
                    <a:pt x="71" y="104"/>
                  </a:cubicBezTo>
                  <a:cubicBezTo>
                    <a:pt x="67" y="102"/>
                    <a:pt x="63" y="105"/>
                    <a:pt x="59" y="101"/>
                  </a:cubicBezTo>
                  <a:cubicBezTo>
                    <a:pt x="55" y="98"/>
                    <a:pt x="52" y="99"/>
                    <a:pt x="50" y="96"/>
                  </a:cubicBezTo>
                  <a:cubicBezTo>
                    <a:pt x="49" y="93"/>
                    <a:pt x="49" y="90"/>
                    <a:pt x="49" y="87"/>
                  </a:cubicBezTo>
                  <a:cubicBezTo>
                    <a:pt x="50" y="84"/>
                    <a:pt x="45" y="84"/>
                    <a:pt x="41" y="85"/>
                  </a:cubicBezTo>
                  <a:cubicBezTo>
                    <a:pt x="37" y="85"/>
                    <a:pt x="38" y="93"/>
                    <a:pt x="38" y="93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11" y="50"/>
                    <a:pt x="9" y="40"/>
                  </a:cubicBezTo>
                  <a:cubicBezTo>
                    <a:pt x="7" y="33"/>
                    <a:pt x="3" y="23"/>
                    <a:pt x="0" y="1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23" y="7"/>
                    <a:pt x="123" y="7"/>
                    <a:pt x="123" y="7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6" name="Р.Чувашия">
              <a:extLst>
                <a:ext uri="{FF2B5EF4-FFF2-40B4-BE49-F238E27FC236}">
                  <a16:creationId xmlns:a16="http://schemas.microsoft.com/office/drawing/2014/main" id="{654C215D-F1A9-5E03-3D1C-C55805A66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348" y="4397832"/>
              <a:ext cx="240083" cy="204961"/>
            </a:xfrm>
            <a:custGeom>
              <a:avLst/>
              <a:gdLst>
                <a:gd name="T0" fmla="*/ 0 w 94"/>
                <a:gd name="T1" fmla="*/ 50 h 90"/>
                <a:gd name="T2" fmla="*/ 23 w 94"/>
                <a:gd name="T3" fmla="*/ 32 h 90"/>
                <a:gd name="T4" fmla="*/ 23 w 94"/>
                <a:gd name="T5" fmla="*/ 15 h 90"/>
                <a:gd name="T6" fmla="*/ 44 w 94"/>
                <a:gd name="T7" fmla="*/ 0 h 90"/>
                <a:gd name="T8" fmla="*/ 56 w 94"/>
                <a:gd name="T9" fmla="*/ 7 h 90"/>
                <a:gd name="T10" fmla="*/ 83 w 94"/>
                <a:gd name="T11" fmla="*/ 7 h 90"/>
                <a:gd name="T12" fmla="*/ 83 w 94"/>
                <a:gd name="T13" fmla="*/ 17 h 90"/>
                <a:gd name="T14" fmla="*/ 94 w 94"/>
                <a:gd name="T15" fmla="*/ 27 h 90"/>
                <a:gd name="T16" fmla="*/ 85 w 94"/>
                <a:gd name="T17" fmla="*/ 40 h 90"/>
                <a:gd name="T18" fmla="*/ 94 w 94"/>
                <a:gd name="T19" fmla="*/ 54 h 90"/>
                <a:gd name="T20" fmla="*/ 90 w 94"/>
                <a:gd name="T21" fmla="*/ 57 h 90"/>
                <a:gd name="T22" fmla="*/ 65 w 94"/>
                <a:gd name="T23" fmla="*/ 65 h 90"/>
                <a:gd name="T24" fmla="*/ 65 w 94"/>
                <a:gd name="T25" fmla="*/ 84 h 90"/>
                <a:gd name="T26" fmla="*/ 48 w 94"/>
                <a:gd name="T27" fmla="*/ 90 h 90"/>
                <a:gd name="T28" fmla="*/ 33 w 94"/>
                <a:gd name="T29" fmla="*/ 84 h 90"/>
                <a:gd name="T30" fmla="*/ 21 w 94"/>
                <a:gd name="T31" fmla="*/ 88 h 90"/>
                <a:gd name="T32" fmla="*/ 4 w 94"/>
                <a:gd name="T33" fmla="*/ 77 h 90"/>
                <a:gd name="T34" fmla="*/ 4 w 94"/>
                <a:gd name="T35" fmla="*/ 77 h 90"/>
                <a:gd name="T36" fmla="*/ 2 w 94"/>
                <a:gd name="T37" fmla="*/ 67 h 90"/>
                <a:gd name="T38" fmla="*/ 6 w 94"/>
                <a:gd name="T39" fmla="*/ 65 h 90"/>
                <a:gd name="T40" fmla="*/ 6 w 94"/>
                <a:gd name="T41" fmla="*/ 52 h 90"/>
                <a:gd name="T42" fmla="*/ 0 w 94"/>
                <a:gd name="T4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90">
                  <a:moveTo>
                    <a:pt x="0" y="50"/>
                  </a:moveTo>
                  <a:lnTo>
                    <a:pt x="23" y="32"/>
                  </a:lnTo>
                  <a:lnTo>
                    <a:pt x="23" y="15"/>
                  </a:lnTo>
                  <a:lnTo>
                    <a:pt x="44" y="0"/>
                  </a:lnTo>
                  <a:lnTo>
                    <a:pt x="56" y="7"/>
                  </a:lnTo>
                  <a:lnTo>
                    <a:pt x="83" y="7"/>
                  </a:lnTo>
                  <a:lnTo>
                    <a:pt x="83" y="17"/>
                  </a:lnTo>
                  <a:lnTo>
                    <a:pt x="94" y="27"/>
                  </a:lnTo>
                  <a:lnTo>
                    <a:pt x="85" y="40"/>
                  </a:lnTo>
                  <a:lnTo>
                    <a:pt x="94" y="54"/>
                  </a:lnTo>
                  <a:lnTo>
                    <a:pt x="90" y="57"/>
                  </a:lnTo>
                  <a:lnTo>
                    <a:pt x="65" y="65"/>
                  </a:lnTo>
                  <a:lnTo>
                    <a:pt x="65" y="84"/>
                  </a:lnTo>
                  <a:lnTo>
                    <a:pt x="48" y="90"/>
                  </a:lnTo>
                  <a:lnTo>
                    <a:pt x="33" y="84"/>
                  </a:lnTo>
                  <a:lnTo>
                    <a:pt x="21" y="8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6" y="65"/>
                  </a:lnTo>
                  <a:lnTo>
                    <a:pt x="6" y="52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7" name="Чеченская республика">
              <a:extLst>
                <a:ext uri="{FF2B5EF4-FFF2-40B4-BE49-F238E27FC236}">
                  <a16:creationId xmlns:a16="http://schemas.microsoft.com/office/drawing/2014/main" id="{1A9A4D4E-F196-D0B3-C6F6-B20333EF8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163" y="5698197"/>
              <a:ext cx="240083" cy="236844"/>
            </a:xfrm>
            <a:custGeom>
              <a:avLst/>
              <a:gdLst>
                <a:gd name="T0" fmla="*/ 0 w 45"/>
                <a:gd name="T1" fmla="*/ 36 h 50"/>
                <a:gd name="T2" fmla="*/ 9 w 45"/>
                <a:gd name="T3" fmla="*/ 29 h 50"/>
                <a:gd name="T4" fmla="*/ 14 w 45"/>
                <a:gd name="T5" fmla="*/ 15 h 50"/>
                <a:gd name="T6" fmla="*/ 7 w 45"/>
                <a:gd name="T7" fmla="*/ 6 h 50"/>
                <a:gd name="T8" fmla="*/ 14 w 45"/>
                <a:gd name="T9" fmla="*/ 5 h 50"/>
                <a:gd name="T10" fmla="*/ 18 w 45"/>
                <a:gd name="T11" fmla="*/ 0 h 50"/>
                <a:gd name="T12" fmla="*/ 24 w 45"/>
                <a:gd name="T13" fmla="*/ 6 h 50"/>
                <a:gd name="T14" fmla="*/ 29 w 45"/>
                <a:gd name="T15" fmla="*/ 6 h 50"/>
                <a:gd name="T16" fmla="*/ 35 w 45"/>
                <a:gd name="T17" fmla="*/ 12 h 50"/>
                <a:gd name="T18" fmla="*/ 38 w 45"/>
                <a:gd name="T19" fmla="*/ 16 h 50"/>
                <a:gd name="T20" fmla="*/ 45 w 45"/>
                <a:gd name="T21" fmla="*/ 16 h 50"/>
                <a:gd name="T22" fmla="*/ 45 w 45"/>
                <a:gd name="T23" fmla="*/ 25 h 50"/>
                <a:gd name="T24" fmla="*/ 30 w 45"/>
                <a:gd name="T25" fmla="*/ 35 h 50"/>
                <a:gd name="T26" fmla="*/ 27 w 45"/>
                <a:gd name="T27" fmla="*/ 45 h 50"/>
                <a:gd name="T28" fmla="*/ 22 w 45"/>
                <a:gd name="T29" fmla="*/ 40 h 50"/>
                <a:gd name="T30" fmla="*/ 18 w 45"/>
                <a:gd name="T31" fmla="*/ 43 h 50"/>
                <a:gd name="T32" fmla="*/ 8 w 45"/>
                <a:gd name="T33" fmla="*/ 46 h 50"/>
                <a:gd name="T34" fmla="*/ 1 w 45"/>
                <a:gd name="T35" fmla="*/ 50 h 50"/>
                <a:gd name="T36" fmla="*/ 1 w 45"/>
                <a:gd name="T37" fmla="*/ 43 h 50"/>
                <a:gd name="T38" fmla="*/ 0 w 45"/>
                <a:gd name="T39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50">
                  <a:moveTo>
                    <a:pt x="0" y="36"/>
                  </a:moveTo>
                  <a:cubicBezTo>
                    <a:pt x="4" y="34"/>
                    <a:pt x="8" y="31"/>
                    <a:pt x="9" y="29"/>
                  </a:cubicBezTo>
                  <a:cubicBezTo>
                    <a:pt x="10" y="24"/>
                    <a:pt x="14" y="15"/>
                    <a:pt x="14" y="15"/>
                  </a:cubicBezTo>
                  <a:cubicBezTo>
                    <a:pt x="14" y="15"/>
                    <a:pt x="7" y="8"/>
                    <a:pt x="7" y="6"/>
                  </a:cubicBezTo>
                  <a:cubicBezTo>
                    <a:pt x="7" y="4"/>
                    <a:pt x="13" y="6"/>
                    <a:pt x="14" y="5"/>
                  </a:cubicBezTo>
                  <a:cubicBezTo>
                    <a:pt x="15" y="4"/>
                    <a:pt x="18" y="0"/>
                    <a:pt x="18" y="0"/>
                  </a:cubicBezTo>
                  <a:cubicBezTo>
                    <a:pt x="18" y="0"/>
                    <a:pt x="23" y="6"/>
                    <a:pt x="24" y="6"/>
                  </a:cubicBezTo>
                  <a:cubicBezTo>
                    <a:pt x="24" y="6"/>
                    <a:pt x="26" y="6"/>
                    <a:pt x="29" y="6"/>
                  </a:cubicBezTo>
                  <a:cubicBezTo>
                    <a:pt x="30" y="7"/>
                    <a:pt x="33" y="10"/>
                    <a:pt x="35" y="12"/>
                  </a:cubicBezTo>
                  <a:cubicBezTo>
                    <a:pt x="37" y="14"/>
                    <a:pt x="38" y="16"/>
                    <a:pt x="38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33" y="31"/>
                    <a:pt x="30" y="35"/>
                  </a:cubicBezTo>
                  <a:cubicBezTo>
                    <a:pt x="28" y="39"/>
                    <a:pt x="27" y="45"/>
                    <a:pt x="27" y="4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18" y="42"/>
                    <a:pt x="18" y="43"/>
                  </a:cubicBezTo>
                  <a:cubicBezTo>
                    <a:pt x="17" y="43"/>
                    <a:pt x="15" y="45"/>
                    <a:pt x="8" y="46"/>
                  </a:cubicBezTo>
                  <a:cubicBezTo>
                    <a:pt x="5" y="46"/>
                    <a:pt x="3" y="48"/>
                    <a:pt x="1" y="50"/>
                  </a:cubicBezTo>
                  <a:cubicBezTo>
                    <a:pt x="1" y="48"/>
                    <a:pt x="1" y="46"/>
                    <a:pt x="1" y="43"/>
                  </a:cubicBezTo>
                  <a:cubicBezTo>
                    <a:pt x="1" y="41"/>
                    <a:pt x="1" y="38"/>
                    <a:pt x="0" y="36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8" name="Р.Хакасия">
              <a:extLst>
                <a:ext uri="{FF2B5EF4-FFF2-40B4-BE49-F238E27FC236}">
                  <a16:creationId xmlns:a16="http://schemas.microsoft.com/office/drawing/2014/main" id="{1D3EE8FB-C225-5E56-9EB4-FDDCC6759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7553" y="5504623"/>
              <a:ext cx="388220" cy="578446"/>
            </a:xfrm>
            <a:custGeom>
              <a:avLst/>
              <a:gdLst>
                <a:gd name="T0" fmla="*/ 42 w 152"/>
                <a:gd name="T1" fmla="*/ 0 h 254"/>
                <a:gd name="T2" fmla="*/ 58 w 152"/>
                <a:gd name="T3" fmla="*/ 29 h 254"/>
                <a:gd name="T4" fmla="*/ 71 w 152"/>
                <a:gd name="T5" fmla="*/ 29 h 254"/>
                <a:gd name="T6" fmla="*/ 79 w 152"/>
                <a:gd name="T7" fmla="*/ 23 h 254"/>
                <a:gd name="T8" fmla="*/ 106 w 152"/>
                <a:gd name="T9" fmla="*/ 29 h 254"/>
                <a:gd name="T10" fmla="*/ 115 w 152"/>
                <a:gd name="T11" fmla="*/ 25 h 254"/>
                <a:gd name="T12" fmla="*/ 121 w 152"/>
                <a:gd name="T13" fmla="*/ 35 h 254"/>
                <a:gd name="T14" fmla="*/ 115 w 152"/>
                <a:gd name="T15" fmla="*/ 48 h 254"/>
                <a:gd name="T16" fmla="*/ 129 w 152"/>
                <a:gd name="T17" fmla="*/ 62 h 254"/>
                <a:gd name="T18" fmla="*/ 129 w 152"/>
                <a:gd name="T19" fmla="*/ 81 h 254"/>
                <a:gd name="T20" fmla="*/ 148 w 152"/>
                <a:gd name="T21" fmla="*/ 96 h 254"/>
                <a:gd name="T22" fmla="*/ 146 w 152"/>
                <a:gd name="T23" fmla="*/ 114 h 254"/>
                <a:gd name="T24" fmla="*/ 152 w 152"/>
                <a:gd name="T25" fmla="*/ 127 h 254"/>
                <a:gd name="T26" fmla="*/ 133 w 152"/>
                <a:gd name="T27" fmla="*/ 144 h 254"/>
                <a:gd name="T28" fmla="*/ 135 w 152"/>
                <a:gd name="T29" fmla="*/ 154 h 254"/>
                <a:gd name="T30" fmla="*/ 110 w 152"/>
                <a:gd name="T31" fmla="*/ 177 h 254"/>
                <a:gd name="T32" fmla="*/ 100 w 152"/>
                <a:gd name="T33" fmla="*/ 206 h 254"/>
                <a:gd name="T34" fmla="*/ 87 w 152"/>
                <a:gd name="T35" fmla="*/ 208 h 254"/>
                <a:gd name="T36" fmla="*/ 87 w 152"/>
                <a:gd name="T37" fmla="*/ 227 h 254"/>
                <a:gd name="T38" fmla="*/ 71 w 152"/>
                <a:gd name="T39" fmla="*/ 239 h 254"/>
                <a:gd name="T40" fmla="*/ 44 w 152"/>
                <a:gd name="T41" fmla="*/ 237 h 254"/>
                <a:gd name="T42" fmla="*/ 31 w 152"/>
                <a:gd name="T43" fmla="*/ 237 h 254"/>
                <a:gd name="T44" fmla="*/ 25 w 152"/>
                <a:gd name="T45" fmla="*/ 254 h 254"/>
                <a:gd name="T46" fmla="*/ 12 w 152"/>
                <a:gd name="T47" fmla="*/ 252 h 254"/>
                <a:gd name="T48" fmla="*/ 0 w 152"/>
                <a:gd name="T49" fmla="*/ 239 h 254"/>
                <a:gd name="T50" fmla="*/ 6 w 152"/>
                <a:gd name="T51" fmla="*/ 233 h 254"/>
                <a:gd name="T52" fmla="*/ 6 w 152"/>
                <a:gd name="T53" fmla="*/ 219 h 254"/>
                <a:gd name="T54" fmla="*/ 23 w 152"/>
                <a:gd name="T55" fmla="*/ 198 h 254"/>
                <a:gd name="T56" fmla="*/ 33 w 152"/>
                <a:gd name="T57" fmla="*/ 202 h 254"/>
                <a:gd name="T58" fmla="*/ 33 w 152"/>
                <a:gd name="T59" fmla="*/ 185 h 254"/>
                <a:gd name="T60" fmla="*/ 54 w 152"/>
                <a:gd name="T61" fmla="*/ 169 h 254"/>
                <a:gd name="T62" fmla="*/ 44 w 152"/>
                <a:gd name="T63" fmla="*/ 152 h 254"/>
                <a:gd name="T64" fmla="*/ 50 w 152"/>
                <a:gd name="T65" fmla="*/ 137 h 254"/>
                <a:gd name="T66" fmla="*/ 35 w 152"/>
                <a:gd name="T67" fmla="*/ 123 h 254"/>
                <a:gd name="T68" fmla="*/ 50 w 152"/>
                <a:gd name="T69" fmla="*/ 104 h 254"/>
                <a:gd name="T70" fmla="*/ 50 w 152"/>
                <a:gd name="T71" fmla="*/ 81 h 254"/>
                <a:gd name="T72" fmla="*/ 58 w 152"/>
                <a:gd name="T73" fmla="*/ 71 h 254"/>
                <a:gd name="T74" fmla="*/ 42 w 152"/>
                <a:gd name="T75" fmla="*/ 69 h 254"/>
                <a:gd name="T76" fmla="*/ 29 w 152"/>
                <a:gd name="T77" fmla="*/ 73 h 254"/>
                <a:gd name="T78" fmla="*/ 23 w 152"/>
                <a:gd name="T79" fmla="*/ 69 h 254"/>
                <a:gd name="T80" fmla="*/ 37 w 152"/>
                <a:gd name="T81" fmla="*/ 58 h 254"/>
                <a:gd name="T82" fmla="*/ 37 w 152"/>
                <a:gd name="T83" fmla="*/ 33 h 254"/>
                <a:gd name="T84" fmla="*/ 29 w 152"/>
                <a:gd name="T85" fmla="*/ 8 h 254"/>
                <a:gd name="T86" fmla="*/ 42 w 152"/>
                <a:gd name="T8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54">
                  <a:moveTo>
                    <a:pt x="42" y="0"/>
                  </a:moveTo>
                  <a:lnTo>
                    <a:pt x="58" y="29"/>
                  </a:lnTo>
                  <a:lnTo>
                    <a:pt x="71" y="29"/>
                  </a:lnTo>
                  <a:lnTo>
                    <a:pt x="79" y="23"/>
                  </a:lnTo>
                  <a:lnTo>
                    <a:pt x="106" y="29"/>
                  </a:lnTo>
                  <a:lnTo>
                    <a:pt x="115" y="25"/>
                  </a:lnTo>
                  <a:lnTo>
                    <a:pt x="121" y="35"/>
                  </a:lnTo>
                  <a:lnTo>
                    <a:pt x="115" y="48"/>
                  </a:lnTo>
                  <a:lnTo>
                    <a:pt x="129" y="62"/>
                  </a:lnTo>
                  <a:lnTo>
                    <a:pt x="129" y="81"/>
                  </a:lnTo>
                  <a:lnTo>
                    <a:pt x="148" y="96"/>
                  </a:lnTo>
                  <a:lnTo>
                    <a:pt x="146" y="114"/>
                  </a:lnTo>
                  <a:lnTo>
                    <a:pt x="152" y="127"/>
                  </a:lnTo>
                  <a:lnTo>
                    <a:pt x="133" y="144"/>
                  </a:lnTo>
                  <a:lnTo>
                    <a:pt x="135" y="154"/>
                  </a:lnTo>
                  <a:lnTo>
                    <a:pt x="110" y="177"/>
                  </a:lnTo>
                  <a:lnTo>
                    <a:pt x="100" y="206"/>
                  </a:lnTo>
                  <a:lnTo>
                    <a:pt x="87" y="208"/>
                  </a:lnTo>
                  <a:lnTo>
                    <a:pt x="87" y="227"/>
                  </a:lnTo>
                  <a:lnTo>
                    <a:pt x="71" y="239"/>
                  </a:lnTo>
                  <a:lnTo>
                    <a:pt x="44" y="237"/>
                  </a:lnTo>
                  <a:lnTo>
                    <a:pt x="31" y="237"/>
                  </a:lnTo>
                  <a:lnTo>
                    <a:pt x="25" y="254"/>
                  </a:lnTo>
                  <a:lnTo>
                    <a:pt x="12" y="252"/>
                  </a:lnTo>
                  <a:lnTo>
                    <a:pt x="0" y="239"/>
                  </a:lnTo>
                  <a:lnTo>
                    <a:pt x="6" y="233"/>
                  </a:lnTo>
                  <a:lnTo>
                    <a:pt x="6" y="219"/>
                  </a:lnTo>
                  <a:lnTo>
                    <a:pt x="23" y="198"/>
                  </a:lnTo>
                  <a:lnTo>
                    <a:pt x="33" y="202"/>
                  </a:lnTo>
                  <a:lnTo>
                    <a:pt x="33" y="185"/>
                  </a:lnTo>
                  <a:lnTo>
                    <a:pt x="54" y="169"/>
                  </a:lnTo>
                  <a:lnTo>
                    <a:pt x="44" y="152"/>
                  </a:lnTo>
                  <a:lnTo>
                    <a:pt x="50" y="137"/>
                  </a:lnTo>
                  <a:lnTo>
                    <a:pt x="35" y="123"/>
                  </a:lnTo>
                  <a:lnTo>
                    <a:pt x="50" y="104"/>
                  </a:lnTo>
                  <a:lnTo>
                    <a:pt x="50" y="81"/>
                  </a:lnTo>
                  <a:lnTo>
                    <a:pt x="58" y="71"/>
                  </a:lnTo>
                  <a:lnTo>
                    <a:pt x="42" y="69"/>
                  </a:lnTo>
                  <a:lnTo>
                    <a:pt x="29" y="73"/>
                  </a:lnTo>
                  <a:lnTo>
                    <a:pt x="23" y="69"/>
                  </a:lnTo>
                  <a:lnTo>
                    <a:pt x="37" y="58"/>
                  </a:lnTo>
                  <a:lnTo>
                    <a:pt x="37" y="33"/>
                  </a:lnTo>
                  <a:lnTo>
                    <a:pt x="29" y="8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2" name="Р.Удмуртия">
              <a:extLst>
                <a:ext uri="{FF2B5EF4-FFF2-40B4-BE49-F238E27FC236}">
                  <a16:creationId xmlns:a16="http://schemas.microsoft.com/office/drawing/2014/main" id="{E97D9C5C-710C-A418-70A6-C3FE661B6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730" y="4350008"/>
              <a:ext cx="349909" cy="380317"/>
            </a:xfrm>
            <a:custGeom>
              <a:avLst/>
              <a:gdLst>
                <a:gd name="T0" fmla="*/ 100 w 137"/>
                <a:gd name="T1" fmla="*/ 153 h 167"/>
                <a:gd name="T2" fmla="*/ 94 w 137"/>
                <a:gd name="T3" fmla="*/ 138 h 167"/>
                <a:gd name="T4" fmla="*/ 94 w 137"/>
                <a:gd name="T5" fmla="*/ 125 h 167"/>
                <a:gd name="T6" fmla="*/ 119 w 137"/>
                <a:gd name="T7" fmla="*/ 117 h 167"/>
                <a:gd name="T8" fmla="*/ 123 w 137"/>
                <a:gd name="T9" fmla="*/ 90 h 167"/>
                <a:gd name="T10" fmla="*/ 125 w 137"/>
                <a:gd name="T11" fmla="*/ 73 h 167"/>
                <a:gd name="T12" fmla="*/ 135 w 137"/>
                <a:gd name="T13" fmla="*/ 63 h 167"/>
                <a:gd name="T14" fmla="*/ 137 w 137"/>
                <a:gd name="T15" fmla="*/ 30 h 167"/>
                <a:gd name="T16" fmla="*/ 125 w 137"/>
                <a:gd name="T17" fmla="*/ 28 h 167"/>
                <a:gd name="T18" fmla="*/ 129 w 137"/>
                <a:gd name="T19" fmla="*/ 15 h 167"/>
                <a:gd name="T20" fmla="*/ 108 w 137"/>
                <a:gd name="T21" fmla="*/ 11 h 167"/>
                <a:gd name="T22" fmla="*/ 91 w 137"/>
                <a:gd name="T23" fmla="*/ 0 h 167"/>
                <a:gd name="T24" fmla="*/ 73 w 137"/>
                <a:gd name="T25" fmla="*/ 23 h 167"/>
                <a:gd name="T26" fmla="*/ 66 w 137"/>
                <a:gd name="T27" fmla="*/ 44 h 167"/>
                <a:gd name="T28" fmla="*/ 54 w 137"/>
                <a:gd name="T29" fmla="*/ 46 h 167"/>
                <a:gd name="T30" fmla="*/ 41 w 137"/>
                <a:gd name="T31" fmla="*/ 38 h 167"/>
                <a:gd name="T32" fmla="*/ 27 w 137"/>
                <a:gd name="T33" fmla="*/ 46 h 167"/>
                <a:gd name="T34" fmla="*/ 25 w 137"/>
                <a:gd name="T35" fmla="*/ 71 h 167"/>
                <a:gd name="T36" fmla="*/ 10 w 137"/>
                <a:gd name="T37" fmla="*/ 96 h 167"/>
                <a:gd name="T38" fmla="*/ 0 w 137"/>
                <a:gd name="T39" fmla="*/ 107 h 167"/>
                <a:gd name="T40" fmla="*/ 0 w 137"/>
                <a:gd name="T41" fmla="*/ 107 h 167"/>
                <a:gd name="T42" fmla="*/ 16 w 137"/>
                <a:gd name="T43" fmla="*/ 113 h 167"/>
                <a:gd name="T44" fmla="*/ 29 w 137"/>
                <a:gd name="T45" fmla="*/ 125 h 167"/>
                <a:gd name="T46" fmla="*/ 41 w 137"/>
                <a:gd name="T47" fmla="*/ 132 h 167"/>
                <a:gd name="T48" fmla="*/ 52 w 137"/>
                <a:gd name="T49" fmla="*/ 136 h 167"/>
                <a:gd name="T50" fmla="*/ 52 w 137"/>
                <a:gd name="T51" fmla="*/ 144 h 167"/>
                <a:gd name="T52" fmla="*/ 60 w 137"/>
                <a:gd name="T53" fmla="*/ 150 h 167"/>
                <a:gd name="T54" fmla="*/ 50 w 137"/>
                <a:gd name="T55" fmla="*/ 161 h 167"/>
                <a:gd name="T56" fmla="*/ 66 w 137"/>
                <a:gd name="T57" fmla="*/ 167 h 167"/>
                <a:gd name="T58" fmla="*/ 100 w 137"/>
                <a:gd name="T59" fmla="*/ 1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" h="167">
                  <a:moveTo>
                    <a:pt x="100" y="153"/>
                  </a:moveTo>
                  <a:lnTo>
                    <a:pt x="94" y="138"/>
                  </a:lnTo>
                  <a:lnTo>
                    <a:pt x="94" y="125"/>
                  </a:lnTo>
                  <a:lnTo>
                    <a:pt x="119" y="117"/>
                  </a:lnTo>
                  <a:lnTo>
                    <a:pt x="123" y="90"/>
                  </a:lnTo>
                  <a:lnTo>
                    <a:pt x="125" y="73"/>
                  </a:lnTo>
                  <a:lnTo>
                    <a:pt x="135" y="63"/>
                  </a:lnTo>
                  <a:lnTo>
                    <a:pt x="137" y="30"/>
                  </a:lnTo>
                  <a:lnTo>
                    <a:pt x="125" y="28"/>
                  </a:lnTo>
                  <a:lnTo>
                    <a:pt x="129" y="15"/>
                  </a:lnTo>
                  <a:lnTo>
                    <a:pt x="108" y="11"/>
                  </a:lnTo>
                  <a:lnTo>
                    <a:pt x="91" y="0"/>
                  </a:lnTo>
                  <a:lnTo>
                    <a:pt x="73" y="23"/>
                  </a:lnTo>
                  <a:lnTo>
                    <a:pt x="66" y="44"/>
                  </a:lnTo>
                  <a:lnTo>
                    <a:pt x="54" y="46"/>
                  </a:lnTo>
                  <a:lnTo>
                    <a:pt x="41" y="38"/>
                  </a:lnTo>
                  <a:lnTo>
                    <a:pt x="27" y="46"/>
                  </a:lnTo>
                  <a:lnTo>
                    <a:pt x="25" y="71"/>
                  </a:lnTo>
                  <a:lnTo>
                    <a:pt x="10" y="96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6" y="113"/>
                  </a:lnTo>
                  <a:lnTo>
                    <a:pt x="29" y="125"/>
                  </a:lnTo>
                  <a:lnTo>
                    <a:pt x="41" y="132"/>
                  </a:lnTo>
                  <a:lnTo>
                    <a:pt x="52" y="136"/>
                  </a:lnTo>
                  <a:lnTo>
                    <a:pt x="52" y="144"/>
                  </a:lnTo>
                  <a:lnTo>
                    <a:pt x="60" y="150"/>
                  </a:lnTo>
                  <a:lnTo>
                    <a:pt x="50" y="161"/>
                  </a:lnTo>
                  <a:lnTo>
                    <a:pt x="66" y="167"/>
                  </a:lnTo>
                  <a:lnTo>
                    <a:pt x="100" y="15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3" name="Р.Тыва">
              <a:extLst>
                <a:ext uri="{FF2B5EF4-FFF2-40B4-BE49-F238E27FC236}">
                  <a16:creationId xmlns:a16="http://schemas.microsoft.com/office/drawing/2014/main" id="{691F4288-9F7F-AE6C-640A-2D1CC0AC1A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933" y="5727801"/>
              <a:ext cx="962886" cy="564783"/>
            </a:xfrm>
            <a:custGeom>
              <a:avLst/>
              <a:gdLst>
                <a:gd name="T0" fmla="*/ 0 w 181"/>
                <a:gd name="T1" fmla="*/ 67 h 119"/>
                <a:gd name="T2" fmla="*/ 13 w 181"/>
                <a:gd name="T3" fmla="*/ 68 h 119"/>
                <a:gd name="T4" fmla="*/ 21 w 181"/>
                <a:gd name="T5" fmla="*/ 62 h 119"/>
                <a:gd name="T6" fmla="*/ 21 w 181"/>
                <a:gd name="T7" fmla="*/ 53 h 119"/>
                <a:gd name="T8" fmla="*/ 27 w 181"/>
                <a:gd name="T9" fmla="*/ 52 h 119"/>
                <a:gd name="T10" fmla="*/ 39 w 181"/>
                <a:gd name="T11" fmla="*/ 59 h 119"/>
                <a:gd name="T12" fmla="*/ 53 w 181"/>
                <a:gd name="T13" fmla="*/ 60 h 119"/>
                <a:gd name="T14" fmla="*/ 66 w 181"/>
                <a:gd name="T15" fmla="*/ 59 h 119"/>
                <a:gd name="T16" fmla="*/ 78 w 181"/>
                <a:gd name="T17" fmla="*/ 50 h 119"/>
                <a:gd name="T18" fmla="*/ 85 w 181"/>
                <a:gd name="T19" fmla="*/ 50 h 119"/>
                <a:gd name="T20" fmla="*/ 85 w 181"/>
                <a:gd name="T21" fmla="*/ 40 h 119"/>
                <a:gd name="T22" fmla="*/ 91 w 181"/>
                <a:gd name="T23" fmla="*/ 35 h 119"/>
                <a:gd name="T24" fmla="*/ 90 w 181"/>
                <a:gd name="T25" fmla="*/ 29 h 119"/>
                <a:gd name="T26" fmla="*/ 98 w 181"/>
                <a:gd name="T27" fmla="*/ 26 h 119"/>
                <a:gd name="T28" fmla="*/ 100 w 181"/>
                <a:gd name="T29" fmla="*/ 13 h 119"/>
                <a:gd name="T30" fmla="*/ 108 w 181"/>
                <a:gd name="T31" fmla="*/ 11 h 119"/>
                <a:gd name="T32" fmla="*/ 114 w 181"/>
                <a:gd name="T33" fmla="*/ 11 h 119"/>
                <a:gd name="T34" fmla="*/ 117 w 181"/>
                <a:gd name="T35" fmla="*/ 8 h 119"/>
                <a:gd name="T36" fmla="*/ 127 w 181"/>
                <a:gd name="T37" fmla="*/ 6 h 119"/>
                <a:gd name="T38" fmla="*/ 133 w 181"/>
                <a:gd name="T39" fmla="*/ 4 h 119"/>
                <a:gd name="T40" fmla="*/ 135 w 181"/>
                <a:gd name="T41" fmla="*/ 0 h 119"/>
                <a:gd name="T42" fmla="*/ 144 w 181"/>
                <a:gd name="T43" fmla="*/ 2 h 119"/>
                <a:gd name="T44" fmla="*/ 155 w 181"/>
                <a:gd name="T45" fmla="*/ 5 h 119"/>
                <a:gd name="T46" fmla="*/ 164 w 181"/>
                <a:gd name="T47" fmla="*/ 12 h 119"/>
                <a:gd name="T48" fmla="*/ 176 w 181"/>
                <a:gd name="T49" fmla="*/ 10 h 119"/>
                <a:gd name="T50" fmla="*/ 181 w 181"/>
                <a:gd name="T51" fmla="*/ 17 h 119"/>
                <a:gd name="T52" fmla="*/ 176 w 181"/>
                <a:gd name="T53" fmla="*/ 24 h 119"/>
                <a:gd name="T54" fmla="*/ 172 w 181"/>
                <a:gd name="T55" fmla="*/ 31 h 119"/>
                <a:gd name="T56" fmla="*/ 178 w 181"/>
                <a:gd name="T57" fmla="*/ 42 h 119"/>
                <a:gd name="T58" fmla="*/ 178 w 181"/>
                <a:gd name="T59" fmla="*/ 45 h 119"/>
                <a:gd name="T60" fmla="*/ 172 w 181"/>
                <a:gd name="T61" fmla="*/ 51 h 119"/>
                <a:gd name="T62" fmla="*/ 167 w 181"/>
                <a:gd name="T63" fmla="*/ 59 h 119"/>
                <a:gd name="T64" fmla="*/ 162 w 181"/>
                <a:gd name="T65" fmla="*/ 72 h 119"/>
                <a:gd name="T66" fmla="*/ 169 w 181"/>
                <a:gd name="T67" fmla="*/ 85 h 119"/>
                <a:gd name="T68" fmla="*/ 171 w 181"/>
                <a:gd name="T69" fmla="*/ 99 h 119"/>
                <a:gd name="T70" fmla="*/ 163 w 181"/>
                <a:gd name="T71" fmla="*/ 107 h 119"/>
                <a:gd name="T72" fmla="*/ 152 w 181"/>
                <a:gd name="T73" fmla="*/ 109 h 119"/>
                <a:gd name="T74" fmla="*/ 144 w 181"/>
                <a:gd name="T75" fmla="*/ 108 h 119"/>
                <a:gd name="T76" fmla="*/ 135 w 181"/>
                <a:gd name="T77" fmla="*/ 106 h 119"/>
                <a:gd name="T78" fmla="*/ 126 w 181"/>
                <a:gd name="T79" fmla="*/ 109 h 119"/>
                <a:gd name="T80" fmla="*/ 114 w 181"/>
                <a:gd name="T81" fmla="*/ 108 h 119"/>
                <a:gd name="T82" fmla="*/ 101 w 181"/>
                <a:gd name="T83" fmla="*/ 101 h 119"/>
                <a:gd name="T84" fmla="*/ 99 w 181"/>
                <a:gd name="T85" fmla="*/ 92 h 119"/>
                <a:gd name="T86" fmla="*/ 88 w 181"/>
                <a:gd name="T87" fmla="*/ 91 h 119"/>
                <a:gd name="T88" fmla="*/ 80 w 181"/>
                <a:gd name="T89" fmla="*/ 92 h 119"/>
                <a:gd name="T90" fmla="*/ 69 w 181"/>
                <a:gd name="T91" fmla="*/ 88 h 119"/>
                <a:gd name="T92" fmla="*/ 61 w 181"/>
                <a:gd name="T93" fmla="*/ 87 h 119"/>
                <a:gd name="T94" fmla="*/ 55 w 181"/>
                <a:gd name="T95" fmla="*/ 90 h 119"/>
                <a:gd name="T96" fmla="*/ 47 w 181"/>
                <a:gd name="T97" fmla="*/ 94 h 119"/>
                <a:gd name="T98" fmla="*/ 41 w 181"/>
                <a:gd name="T99" fmla="*/ 97 h 119"/>
                <a:gd name="T100" fmla="*/ 34 w 181"/>
                <a:gd name="T101" fmla="*/ 102 h 119"/>
                <a:gd name="T102" fmla="*/ 24 w 181"/>
                <a:gd name="T103" fmla="*/ 107 h 119"/>
                <a:gd name="T104" fmla="*/ 16 w 181"/>
                <a:gd name="T105" fmla="*/ 112 h 119"/>
                <a:gd name="T106" fmla="*/ 13 w 181"/>
                <a:gd name="T107" fmla="*/ 114 h 119"/>
                <a:gd name="T108" fmla="*/ 11 w 181"/>
                <a:gd name="T109" fmla="*/ 112 h 119"/>
                <a:gd name="T110" fmla="*/ 5 w 181"/>
                <a:gd name="T111" fmla="*/ 105 h 119"/>
                <a:gd name="T112" fmla="*/ 14 w 181"/>
                <a:gd name="T113" fmla="*/ 101 h 119"/>
                <a:gd name="T114" fmla="*/ 14 w 181"/>
                <a:gd name="T115" fmla="*/ 96 h 119"/>
                <a:gd name="T116" fmla="*/ 2 w 181"/>
                <a:gd name="T117" fmla="*/ 83 h 119"/>
                <a:gd name="T118" fmla="*/ 0 w 181"/>
                <a:gd name="T119" fmla="*/ 67 h 119"/>
                <a:gd name="T120" fmla="*/ 13 w 181"/>
                <a:gd name="T121" fmla="*/ 119 h 119"/>
                <a:gd name="T122" fmla="*/ 13 w 181"/>
                <a:gd name="T123" fmla="*/ 119 h 119"/>
                <a:gd name="T124" fmla="*/ 13 w 181"/>
                <a:gd name="T1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119">
                  <a:moveTo>
                    <a:pt x="0" y="67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3"/>
                    <a:pt x="178" y="44"/>
                    <a:pt x="178" y="45"/>
                  </a:cubicBezTo>
                  <a:cubicBezTo>
                    <a:pt x="178" y="48"/>
                    <a:pt x="175" y="48"/>
                    <a:pt x="172" y="51"/>
                  </a:cubicBezTo>
                  <a:cubicBezTo>
                    <a:pt x="168" y="53"/>
                    <a:pt x="170" y="58"/>
                    <a:pt x="167" y="59"/>
                  </a:cubicBezTo>
                  <a:cubicBezTo>
                    <a:pt x="164" y="60"/>
                    <a:pt x="162" y="68"/>
                    <a:pt x="162" y="72"/>
                  </a:cubicBezTo>
                  <a:cubicBezTo>
                    <a:pt x="162" y="77"/>
                    <a:pt x="164" y="80"/>
                    <a:pt x="169" y="85"/>
                  </a:cubicBezTo>
                  <a:cubicBezTo>
                    <a:pt x="173" y="91"/>
                    <a:pt x="175" y="97"/>
                    <a:pt x="171" y="99"/>
                  </a:cubicBezTo>
                  <a:cubicBezTo>
                    <a:pt x="167" y="101"/>
                    <a:pt x="168" y="102"/>
                    <a:pt x="163" y="107"/>
                  </a:cubicBezTo>
                  <a:cubicBezTo>
                    <a:pt x="158" y="112"/>
                    <a:pt x="154" y="112"/>
                    <a:pt x="152" y="109"/>
                  </a:cubicBezTo>
                  <a:cubicBezTo>
                    <a:pt x="150" y="106"/>
                    <a:pt x="146" y="108"/>
                    <a:pt x="144" y="108"/>
                  </a:cubicBezTo>
                  <a:cubicBezTo>
                    <a:pt x="142" y="108"/>
                    <a:pt x="136" y="108"/>
                    <a:pt x="135" y="106"/>
                  </a:cubicBezTo>
                  <a:cubicBezTo>
                    <a:pt x="133" y="104"/>
                    <a:pt x="128" y="106"/>
                    <a:pt x="126" y="109"/>
                  </a:cubicBezTo>
                  <a:cubicBezTo>
                    <a:pt x="123" y="111"/>
                    <a:pt x="119" y="109"/>
                    <a:pt x="114" y="108"/>
                  </a:cubicBezTo>
                  <a:cubicBezTo>
                    <a:pt x="110" y="108"/>
                    <a:pt x="103" y="104"/>
                    <a:pt x="101" y="101"/>
                  </a:cubicBezTo>
                  <a:cubicBezTo>
                    <a:pt x="100" y="98"/>
                    <a:pt x="100" y="94"/>
                    <a:pt x="99" y="92"/>
                  </a:cubicBezTo>
                  <a:cubicBezTo>
                    <a:pt x="99" y="91"/>
                    <a:pt x="90" y="92"/>
                    <a:pt x="88" y="91"/>
                  </a:cubicBezTo>
                  <a:cubicBezTo>
                    <a:pt x="87" y="90"/>
                    <a:pt x="82" y="92"/>
                    <a:pt x="80" y="92"/>
                  </a:cubicBezTo>
                  <a:cubicBezTo>
                    <a:pt x="79" y="92"/>
                    <a:pt x="71" y="90"/>
                    <a:pt x="69" y="88"/>
                  </a:cubicBezTo>
                  <a:cubicBezTo>
                    <a:pt x="66" y="85"/>
                    <a:pt x="65" y="87"/>
                    <a:pt x="61" y="87"/>
                  </a:cubicBezTo>
                  <a:cubicBezTo>
                    <a:pt x="58" y="87"/>
                    <a:pt x="57" y="90"/>
                    <a:pt x="55" y="90"/>
                  </a:cubicBezTo>
                  <a:cubicBezTo>
                    <a:pt x="53" y="90"/>
                    <a:pt x="48" y="92"/>
                    <a:pt x="47" y="94"/>
                  </a:cubicBezTo>
                  <a:cubicBezTo>
                    <a:pt x="45" y="96"/>
                    <a:pt x="44" y="97"/>
                    <a:pt x="41" y="97"/>
                  </a:cubicBezTo>
                  <a:cubicBezTo>
                    <a:pt x="38" y="98"/>
                    <a:pt x="37" y="101"/>
                    <a:pt x="34" y="102"/>
                  </a:cubicBezTo>
                  <a:cubicBezTo>
                    <a:pt x="32" y="103"/>
                    <a:pt x="27" y="105"/>
                    <a:pt x="24" y="107"/>
                  </a:cubicBezTo>
                  <a:cubicBezTo>
                    <a:pt x="22" y="108"/>
                    <a:pt x="20" y="112"/>
                    <a:pt x="16" y="112"/>
                  </a:cubicBezTo>
                  <a:cubicBezTo>
                    <a:pt x="15" y="112"/>
                    <a:pt x="14" y="113"/>
                    <a:pt x="13" y="114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13" y="119"/>
                  </a:move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4" name="Р.Татарстан">
              <a:extLst>
                <a:ext uri="{FF2B5EF4-FFF2-40B4-BE49-F238E27FC236}">
                  <a16:creationId xmlns:a16="http://schemas.microsoft.com/office/drawing/2014/main" id="{26B11FF3-D994-4D5F-64B8-9E13D409A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984" y="4479815"/>
              <a:ext cx="612979" cy="460024"/>
            </a:xfrm>
            <a:custGeom>
              <a:avLst/>
              <a:gdLst>
                <a:gd name="T0" fmla="*/ 0 w 240"/>
                <a:gd name="T1" fmla="*/ 52 h 202"/>
                <a:gd name="T2" fmla="*/ 12 w 240"/>
                <a:gd name="T3" fmla="*/ 48 h 202"/>
                <a:gd name="T4" fmla="*/ 27 w 240"/>
                <a:gd name="T5" fmla="*/ 54 h 202"/>
                <a:gd name="T6" fmla="*/ 44 w 240"/>
                <a:gd name="T7" fmla="*/ 48 h 202"/>
                <a:gd name="T8" fmla="*/ 44 w 240"/>
                <a:gd name="T9" fmla="*/ 29 h 202"/>
                <a:gd name="T10" fmla="*/ 69 w 240"/>
                <a:gd name="T11" fmla="*/ 21 h 202"/>
                <a:gd name="T12" fmla="*/ 83 w 240"/>
                <a:gd name="T13" fmla="*/ 16 h 202"/>
                <a:gd name="T14" fmla="*/ 102 w 240"/>
                <a:gd name="T15" fmla="*/ 8 h 202"/>
                <a:gd name="T16" fmla="*/ 112 w 240"/>
                <a:gd name="T17" fmla="*/ 0 h 202"/>
                <a:gd name="T18" fmla="*/ 121 w 240"/>
                <a:gd name="T19" fmla="*/ 6 h 202"/>
                <a:gd name="T20" fmla="*/ 140 w 240"/>
                <a:gd name="T21" fmla="*/ 6 h 202"/>
                <a:gd name="T22" fmla="*/ 144 w 240"/>
                <a:gd name="T23" fmla="*/ 14 h 202"/>
                <a:gd name="T24" fmla="*/ 154 w 240"/>
                <a:gd name="T25" fmla="*/ 12 h 202"/>
                <a:gd name="T26" fmla="*/ 160 w 240"/>
                <a:gd name="T27" fmla="*/ 35 h 202"/>
                <a:gd name="T28" fmla="*/ 171 w 240"/>
                <a:gd name="T29" fmla="*/ 50 h 202"/>
                <a:gd name="T30" fmla="*/ 187 w 240"/>
                <a:gd name="T31" fmla="*/ 56 h 202"/>
                <a:gd name="T32" fmla="*/ 200 w 240"/>
                <a:gd name="T33" fmla="*/ 68 h 202"/>
                <a:gd name="T34" fmla="*/ 212 w 240"/>
                <a:gd name="T35" fmla="*/ 75 h 202"/>
                <a:gd name="T36" fmla="*/ 223 w 240"/>
                <a:gd name="T37" fmla="*/ 79 h 202"/>
                <a:gd name="T38" fmla="*/ 223 w 240"/>
                <a:gd name="T39" fmla="*/ 87 h 202"/>
                <a:gd name="T40" fmla="*/ 231 w 240"/>
                <a:gd name="T41" fmla="*/ 93 h 202"/>
                <a:gd name="T42" fmla="*/ 221 w 240"/>
                <a:gd name="T43" fmla="*/ 104 h 202"/>
                <a:gd name="T44" fmla="*/ 237 w 240"/>
                <a:gd name="T45" fmla="*/ 110 h 202"/>
                <a:gd name="T46" fmla="*/ 233 w 240"/>
                <a:gd name="T47" fmla="*/ 112 h 202"/>
                <a:gd name="T48" fmla="*/ 237 w 240"/>
                <a:gd name="T49" fmla="*/ 118 h 202"/>
                <a:gd name="T50" fmla="*/ 240 w 240"/>
                <a:gd name="T51" fmla="*/ 129 h 202"/>
                <a:gd name="T52" fmla="*/ 227 w 240"/>
                <a:gd name="T53" fmla="*/ 139 h 202"/>
                <a:gd name="T54" fmla="*/ 215 w 240"/>
                <a:gd name="T55" fmla="*/ 143 h 202"/>
                <a:gd name="T56" fmla="*/ 194 w 240"/>
                <a:gd name="T57" fmla="*/ 143 h 202"/>
                <a:gd name="T58" fmla="*/ 200 w 240"/>
                <a:gd name="T59" fmla="*/ 166 h 202"/>
                <a:gd name="T60" fmla="*/ 187 w 240"/>
                <a:gd name="T61" fmla="*/ 177 h 202"/>
                <a:gd name="T62" fmla="*/ 177 w 240"/>
                <a:gd name="T63" fmla="*/ 179 h 202"/>
                <a:gd name="T64" fmla="*/ 177 w 240"/>
                <a:gd name="T65" fmla="*/ 189 h 202"/>
                <a:gd name="T66" fmla="*/ 165 w 240"/>
                <a:gd name="T67" fmla="*/ 202 h 202"/>
                <a:gd name="T68" fmla="*/ 165 w 240"/>
                <a:gd name="T69" fmla="*/ 200 h 202"/>
                <a:gd name="T70" fmla="*/ 154 w 240"/>
                <a:gd name="T71" fmla="*/ 191 h 202"/>
                <a:gd name="T72" fmla="*/ 160 w 240"/>
                <a:gd name="T73" fmla="*/ 181 h 202"/>
                <a:gd name="T74" fmla="*/ 154 w 240"/>
                <a:gd name="T75" fmla="*/ 171 h 202"/>
                <a:gd name="T76" fmla="*/ 140 w 240"/>
                <a:gd name="T77" fmla="*/ 171 h 202"/>
                <a:gd name="T78" fmla="*/ 135 w 240"/>
                <a:gd name="T79" fmla="*/ 160 h 202"/>
                <a:gd name="T80" fmla="*/ 140 w 240"/>
                <a:gd name="T81" fmla="*/ 148 h 202"/>
                <a:gd name="T82" fmla="*/ 112 w 240"/>
                <a:gd name="T83" fmla="*/ 131 h 202"/>
                <a:gd name="T84" fmla="*/ 100 w 240"/>
                <a:gd name="T85" fmla="*/ 141 h 202"/>
                <a:gd name="T86" fmla="*/ 81 w 240"/>
                <a:gd name="T87" fmla="*/ 123 h 202"/>
                <a:gd name="T88" fmla="*/ 81 w 240"/>
                <a:gd name="T89" fmla="*/ 125 h 202"/>
                <a:gd name="T90" fmla="*/ 81 w 240"/>
                <a:gd name="T91" fmla="*/ 118 h 202"/>
                <a:gd name="T92" fmla="*/ 69 w 240"/>
                <a:gd name="T93" fmla="*/ 104 h 202"/>
                <a:gd name="T94" fmla="*/ 67 w 240"/>
                <a:gd name="T95" fmla="*/ 91 h 202"/>
                <a:gd name="T96" fmla="*/ 60 w 240"/>
                <a:gd name="T97" fmla="*/ 81 h 202"/>
                <a:gd name="T98" fmla="*/ 54 w 240"/>
                <a:gd name="T99" fmla="*/ 85 h 202"/>
                <a:gd name="T100" fmla="*/ 48 w 240"/>
                <a:gd name="T101" fmla="*/ 87 h 202"/>
                <a:gd name="T102" fmla="*/ 23 w 240"/>
                <a:gd name="T103" fmla="*/ 64 h 202"/>
                <a:gd name="T104" fmla="*/ 14 w 240"/>
                <a:gd name="T105" fmla="*/ 62 h 202"/>
                <a:gd name="T106" fmla="*/ 2 w 240"/>
                <a:gd name="T107" fmla="*/ 64 h 202"/>
                <a:gd name="T108" fmla="*/ 2 w 240"/>
                <a:gd name="T109" fmla="*/ 54 h 202"/>
                <a:gd name="T110" fmla="*/ 0 w 240"/>
                <a:gd name="T111" fmla="*/ 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202">
                  <a:moveTo>
                    <a:pt x="0" y="52"/>
                  </a:moveTo>
                  <a:lnTo>
                    <a:pt x="12" y="48"/>
                  </a:lnTo>
                  <a:lnTo>
                    <a:pt x="27" y="54"/>
                  </a:lnTo>
                  <a:lnTo>
                    <a:pt x="44" y="48"/>
                  </a:lnTo>
                  <a:lnTo>
                    <a:pt x="44" y="29"/>
                  </a:lnTo>
                  <a:lnTo>
                    <a:pt x="69" y="21"/>
                  </a:lnTo>
                  <a:lnTo>
                    <a:pt x="83" y="16"/>
                  </a:lnTo>
                  <a:lnTo>
                    <a:pt x="102" y="8"/>
                  </a:lnTo>
                  <a:lnTo>
                    <a:pt x="112" y="0"/>
                  </a:lnTo>
                  <a:lnTo>
                    <a:pt x="121" y="6"/>
                  </a:lnTo>
                  <a:lnTo>
                    <a:pt x="140" y="6"/>
                  </a:lnTo>
                  <a:lnTo>
                    <a:pt x="144" y="14"/>
                  </a:lnTo>
                  <a:lnTo>
                    <a:pt x="154" y="12"/>
                  </a:lnTo>
                  <a:lnTo>
                    <a:pt x="160" y="35"/>
                  </a:lnTo>
                  <a:lnTo>
                    <a:pt x="171" y="50"/>
                  </a:lnTo>
                  <a:lnTo>
                    <a:pt x="187" y="56"/>
                  </a:lnTo>
                  <a:lnTo>
                    <a:pt x="200" y="68"/>
                  </a:lnTo>
                  <a:lnTo>
                    <a:pt x="212" y="75"/>
                  </a:lnTo>
                  <a:lnTo>
                    <a:pt x="223" y="79"/>
                  </a:lnTo>
                  <a:lnTo>
                    <a:pt x="223" y="87"/>
                  </a:lnTo>
                  <a:lnTo>
                    <a:pt x="231" y="93"/>
                  </a:lnTo>
                  <a:lnTo>
                    <a:pt x="221" y="104"/>
                  </a:lnTo>
                  <a:lnTo>
                    <a:pt x="237" y="110"/>
                  </a:lnTo>
                  <a:lnTo>
                    <a:pt x="233" y="112"/>
                  </a:lnTo>
                  <a:lnTo>
                    <a:pt x="237" y="118"/>
                  </a:lnTo>
                  <a:lnTo>
                    <a:pt x="240" y="129"/>
                  </a:lnTo>
                  <a:lnTo>
                    <a:pt x="227" y="139"/>
                  </a:lnTo>
                  <a:lnTo>
                    <a:pt x="215" y="143"/>
                  </a:lnTo>
                  <a:lnTo>
                    <a:pt x="194" y="143"/>
                  </a:lnTo>
                  <a:lnTo>
                    <a:pt x="200" y="166"/>
                  </a:lnTo>
                  <a:lnTo>
                    <a:pt x="187" y="177"/>
                  </a:lnTo>
                  <a:lnTo>
                    <a:pt x="177" y="179"/>
                  </a:lnTo>
                  <a:lnTo>
                    <a:pt x="177" y="189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54" y="191"/>
                  </a:lnTo>
                  <a:lnTo>
                    <a:pt x="160" y="181"/>
                  </a:lnTo>
                  <a:lnTo>
                    <a:pt x="154" y="171"/>
                  </a:lnTo>
                  <a:lnTo>
                    <a:pt x="140" y="171"/>
                  </a:lnTo>
                  <a:lnTo>
                    <a:pt x="135" y="160"/>
                  </a:lnTo>
                  <a:lnTo>
                    <a:pt x="140" y="148"/>
                  </a:lnTo>
                  <a:lnTo>
                    <a:pt x="112" y="131"/>
                  </a:lnTo>
                  <a:lnTo>
                    <a:pt x="100" y="141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18"/>
                  </a:lnTo>
                  <a:lnTo>
                    <a:pt x="69" y="104"/>
                  </a:lnTo>
                  <a:lnTo>
                    <a:pt x="67" y="91"/>
                  </a:lnTo>
                  <a:lnTo>
                    <a:pt x="60" y="81"/>
                  </a:lnTo>
                  <a:lnTo>
                    <a:pt x="54" y="85"/>
                  </a:lnTo>
                  <a:lnTo>
                    <a:pt x="48" y="87"/>
                  </a:lnTo>
                  <a:lnTo>
                    <a:pt x="23" y="64"/>
                  </a:lnTo>
                  <a:lnTo>
                    <a:pt x="14" y="62"/>
                  </a:lnTo>
                  <a:lnTo>
                    <a:pt x="2" y="64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5" name="Р.Алания-Сев.Осетия">
              <a:extLst>
                <a:ext uri="{FF2B5EF4-FFF2-40B4-BE49-F238E27FC236}">
                  <a16:creationId xmlns:a16="http://schemas.microsoft.com/office/drawing/2014/main" id="{10CE9121-F079-75E7-FEB5-2634DB8E1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350" y="5670869"/>
              <a:ext cx="196664" cy="141195"/>
            </a:xfrm>
            <a:custGeom>
              <a:avLst/>
              <a:gdLst>
                <a:gd name="T0" fmla="*/ 0 w 37"/>
                <a:gd name="T1" fmla="*/ 9 h 30"/>
                <a:gd name="T2" fmla="*/ 8 w 37"/>
                <a:gd name="T3" fmla="*/ 7 h 30"/>
                <a:gd name="T4" fmla="*/ 14 w 37"/>
                <a:gd name="T5" fmla="*/ 8 h 30"/>
                <a:gd name="T6" fmla="*/ 17 w 37"/>
                <a:gd name="T7" fmla="*/ 10 h 30"/>
                <a:gd name="T8" fmla="*/ 23 w 37"/>
                <a:gd name="T9" fmla="*/ 7 h 30"/>
                <a:gd name="T10" fmla="*/ 26 w 37"/>
                <a:gd name="T11" fmla="*/ 7 h 30"/>
                <a:gd name="T12" fmla="*/ 26 w 37"/>
                <a:gd name="T13" fmla="*/ 1 h 30"/>
                <a:gd name="T14" fmla="*/ 30 w 37"/>
                <a:gd name="T15" fmla="*/ 0 h 30"/>
                <a:gd name="T16" fmla="*/ 34 w 37"/>
                <a:gd name="T17" fmla="*/ 2 h 30"/>
                <a:gd name="T18" fmla="*/ 37 w 37"/>
                <a:gd name="T19" fmla="*/ 5 h 30"/>
                <a:gd name="T20" fmla="*/ 37 w 37"/>
                <a:gd name="T21" fmla="*/ 11 h 30"/>
                <a:gd name="T22" fmla="*/ 32 w 37"/>
                <a:gd name="T23" fmla="*/ 12 h 30"/>
                <a:gd name="T24" fmla="*/ 32 w 37"/>
                <a:gd name="T25" fmla="*/ 13 h 30"/>
                <a:gd name="T26" fmla="*/ 27 w 37"/>
                <a:gd name="T27" fmla="*/ 11 h 30"/>
                <a:gd name="T28" fmla="*/ 25 w 37"/>
                <a:gd name="T29" fmla="*/ 17 h 30"/>
                <a:gd name="T30" fmla="*/ 25 w 37"/>
                <a:gd name="T31" fmla="*/ 24 h 30"/>
                <a:gd name="T32" fmla="*/ 23 w 37"/>
                <a:gd name="T33" fmla="*/ 28 h 30"/>
                <a:gd name="T34" fmla="*/ 20 w 37"/>
                <a:gd name="T35" fmla="*/ 30 h 30"/>
                <a:gd name="T36" fmla="*/ 15 w 37"/>
                <a:gd name="T37" fmla="*/ 26 h 30"/>
                <a:gd name="T38" fmla="*/ 3 w 37"/>
                <a:gd name="T39" fmla="*/ 22 h 30"/>
                <a:gd name="T40" fmla="*/ 4 w 37"/>
                <a:gd name="T41" fmla="*/ 15 h 30"/>
                <a:gd name="T42" fmla="*/ 0 w 37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0">
                  <a:moveTo>
                    <a:pt x="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1"/>
                    <a:pt x="32" y="11"/>
                    <a:pt x="32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5" y="16"/>
                    <a:pt x="25" y="17"/>
                  </a:cubicBezTo>
                  <a:cubicBezTo>
                    <a:pt x="25" y="18"/>
                    <a:pt x="25" y="24"/>
                    <a:pt x="25" y="24"/>
                  </a:cubicBezTo>
                  <a:cubicBezTo>
                    <a:pt x="25" y="24"/>
                    <a:pt x="24" y="28"/>
                    <a:pt x="23" y="28"/>
                  </a:cubicBezTo>
                  <a:cubicBezTo>
                    <a:pt x="23" y="28"/>
                    <a:pt x="21" y="29"/>
                    <a:pt x="20" y="30"/>
                  </a:cubicBezTo>
                  <a:cubicBezTo>
                    <a:pt x="18" y="28"/>
                    <a:pt x="16" y="27"/>
                    <a:pt x="15" y="26"/>
                  </a:cubicBezTo>
                  <a:cubicBezTo>
                    <a:pt x="12" y="24"/>
                    <a:pt x="5" y="25"/>
                    <a:pt x="3" y="22"/>
                  </a:cubicBezTo>
                  <a:cubicBezTo>
                    <a:pt x="2" y="19"/>
                    <a:pt x="3" y="18"/>
                    <a:pt x="4" y="15"/>
                  </a:cubicBezTo>
                  <a:cubicBezTo>
                    <a:pt x="4" y="13"/>
                    <a:pt x="2" y="11"/>
                    <a:pt x="0" y="9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7" name="Р.Саха (Якутия)">
              <a:extLst>
                <a:ext uri="{FF2B5EF4-FFF2-40B4-BE49-F238E27FC236}">
                  <a16:creationId xmlns:a16="http://schemas.microsoft.com/office/drawing/2014/main" id="{C5587D63-EC18-8927-5010-4844753EE2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1563" y="1735613"/>
              <a:ext cx="2819700" cy="3104024"/>
            </a:xfrm>
            <a:custGeom>
              <a:avLst/>
              <a:gdLst>
                <a:gd name="T0" fmla="*/ 30 w 530"/>
                <a:gd name="T1" fmla="*/ 215 h 654"/>
                <a:gd name="T2" fmla="*/ 118 w 530"/>
                <a:gd name="T3" fmla="*/ 199 h 654"/>
                <a:gd name="T4" fmla="*/ 163 w 530"/>
                <a:gd name="T5" fmla="*/ 171 h 654"/>
                <a:gd name="T6" fmla="*/ 171 w 530"/>
                <a:gd name="T7" fmla="*/ 197 h 654"/>
                <a:gd name="T8" fmla="*/ 222 w 530"/>
                <a:gd name="T9" fmla="*/ 187 h 654"/>
                <a:gd name="T10" fmla="*/ 272 w 530"/>
                <a:gd name="T11" fmla="*/ 151 h 654"/>
                <a:gd name="T12" fmla="*/ 251 w 530"/>
                <a:gd name="T13" fmla="*/ 113 h 654"/>
                <a:gd name="T14" fmla="*/ 302 w 530"/>
                <a:gd name="T15" fmla="*/ 92 h 654"/>
                <a:gd name="T16" fmla="*/ 336 w 530"/>
                <a:gd name="T17" fmla="*/ 79 h 654"/>
                <a:gd name="T18" fmla="*/ 407 w 530"/>
                <a:gd name="T19" fmla="*/ 23 h 654"/>
                <a:gd name="T20" fmla="*/ 465 w 530"/>
                <a:gd name="T21" fmla="*/ 20 h 654"/>
                <a:gd name="T22" fmla="*/ 490 w 530"/>
                <a:gd name="T23" fmla="*/ 46 h 654"/>
                <a:gd name="T24" fmla="*/ 490 w 530"/>
                <a:gd name="T25" fmla="*/ 91 h 654"/>
                <a:gd name="T26" fmla="*/ 529 w 530"/>
                <a:gd name="T27" fmla="*/ 123 h 654"/>
                <a:gd name="T28" fmla="*/ 504 w 530"/>
                <a:gd name="T29" fmla="*/ 149 h 654"/>
                <a:gd name="T30" fmla="*/ 527 w 530"/>
                <a:gd name="T31" fmla="*/ 199 h 654"/>
                <a:gd name="T32" fmla="*/ 501 w 530"/>
                <a:gd name="T33" fmla="*/ 229 h 654"/>
                <a:gd name="T34" fmla="*/ 486 w 530"/>
                <a:gd name="T35" fmla="*/ 256 h 654"/>
                <a:gd name="T36" fmla="*/ 509 w 530"/>
                <a:gd name="T37" fmla="*/ 307 h 654"/>
                <a:gd name="T38" fmla="*/ 492 w 530"/>
                <a:gd name="T39" fmla="*/ 341 h 654"/>
                <a:gd name="T40" fmla="*/ 462 w 530"/>
                <a:gd name="T41" fmla="*/ 358 h 654"/>
                <a:gd name="T42" fmla="*/ 473 w 530"/>
                <a:gd name="T43" fmla="*/ 414 h 654"/>
                <a:gd name="T44" fmla="*/ 469 w 530"/>
                <a:gd name="T45" fmla="*/ 461 h 654"/>
                <a:gd name="T46" fmla="*/ 445 w 530"/>
                <a:gd name="T47" fmla="*/ 483 h 654"/>
                <a:gd name="T48" fmla="*/ 436 w 530"/>
                <a:gd name="T49" fmla="*/ 515 h 654"/>
                <a:gd name="T50" fmla="*/ 445 w 530"/>
                <a:gd name="T51" fmla="*/ 547 h 654"/>
                <a:gd name="T52" fmla="*/ 462 w 530"/>
                <a:gd name="T53" fmla="*/ 572 h 654"/>
                <a:gd name="T54" fmla="*/ 462 w 530"/>
                <a:gd name="T55" fmla="*/ 598 h 654"/>
                <a:gd name="T56" fmla="*/ 421 w 530"/>
                <a:gd name="T57" fmla="*/ 630 h 654"/>
                <a:gd name="T58" fmla="*/ 382 w 530"/>
                <a:gd name="T59" fmla="*/ 643 h 654"/>
                <a:gd name="T60" fmla="*/ 334 w 530"/>
                <a:gd name="T61" fmla="*/ 645 h 654"/>
                <a:gd name="T62" fmla="*/ 290 w 530"/>
                <a:gd name="T63" fmla="*/ 654 h 654"/>
                <a:gd name="T64" fmla="*/ 267 w 530"/>
                <a:gd name="T65" fmla="*/ 628 h 654"/>
                <a:gd name="T66" fmla="*/ 248 w 530"/>
                <a:gd name="T67" fmla="*/ 597 h 654"/>
                <a:gd name="T68" fmla="*/ 219 w 530"/>
                <a:gd name="T69" fmla="*/ 586 h 654"/>
                <a:gd name="T70" fmla="*/ 178 w 530"/>
                <a:gd name="T71" fmla="*/ 595 h 654"/>
                <a:gd name="T72" fmla="*/ 164 w 530"/>
                <a:gd name="T73" fmla="*/ 641 h 654"/>
                <a:gd name="T74" fmla="*/ 136 w 530"/>
                <a:gd name="T75" fmla="*/ 637 h 654"/>
                <a:gd name="T76" fmla="*/ 114 w 530"/>
                <a:gd name="T77" fmla="*/ 589 h 654"/>
                <a:gd name="T78" fmla="*/ 100 w 530"/>
                <a:gd name="T79" fmla="*/ 563 h 654"/>
                <a:gd name="T80" fmla="*/ 81 w 530"/>
                <a:gd name="T81" fmla="*/ 530 h 654"/>
                <a:gd name="T82" fmla="*/ 64 w 530"/>
                <a:gd name="T83" fmla="*/ 504 h 654"/>
                <a:gd name="T84" fmla="*/ 34 w 530"/>
                <a:gd name="T85" fmla="*/ 508 h 654"/>
                <a:gd name="T86" fmla="*/ 25 w 530"/>
                <a:gd name="T87" fmla="*/ 467 h 654"/>
                <a:gd name="T88" fmla="*/ 17 w 530"/>
                <a:gd name="T89" fmla="*/ 437 h 654"/>
                <a:gd name="T90" fmla="*/ 11 w 530"/>
                <a:gd name="T91" fmla="*/ 385 h 654"/>
                <a:gd name="T92" fmla="*/ 21 w 530"/>
                <a:gd name="T93" fmla="*/ 344 h 654"/>
                <a:gd name="T94" fmla="*/ 31 w 530"/>
                <a:gd name="T95" fmla="*/ 311 h 654"/>
                <a:gd name="T96" fmla="*/ 37 w 530"/>
                <a:gd name="T97" fmla="*/ 280 h 654"/>
                <a:gd name="T98" fmla="*/ 14 w 530"/>
                <a:gd name="T99" fmla="*/ 240 h 654"/>
                <a:gd name="T100" fmla="*/ 234 w 530"/>
                <a:gd name="T101" fmla="*/ 26 h 654"/>
                <a:gd name="T102" fmla="*/ 251 w 530"/>
                <a:gd name="T103" fmla="*/ 6 h 654"/>
                <a:gd name="T104" fmla="*/ 223 w 530"/>
                <a:gd name="T105" fmla="*/ 53 h 654"/>
                <a:gd name="T106" fmla="*/ 203 w 530"/>
                <a:gd name="T107" fmla="*/ 27 h 654"/>
                <a:gd name="T108" fmla="*/ 169 w 530"/>
                <a:gd name="T109" fmla="*/ 47 h 654"/>
                <a:gd name="T110" fmla="*/ 217 w 530"/>
                <a:gd name="T111" fmla="*/ 54 h 654"/>
                <a:gd name="T112" fmla="*/ 235 w 530"/>
                <a:gd name="T113" fmla="*/ 98 h 654"/>
                <a:gd name="T114" fmla="*/ 234 w 530"/>
                <a:gd name="T115" fmla="*/ 9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0" h="654">
                  <a:moveTo>
                    <a:pt x="4" y="211"/>
                  </a:moveTo>
                  <a:cubicBezTo>
                    <a:pt x="4" y="211"/>
                    <a:pt x="4" y="211"/>
                    <a:pt x="4" y="211"/>
                  </a:cubicBezTo>
                  <a:cubicBezTo>
                    <a:pt x="7" y="209"/>
                    <a:pt x="10" y="207"/>
                    <a:pt x="11" y="211"/>
                  </a:cubicBezTo>
                  <a:cubicBezTo>
                    <a:pt x="12" y="215"/>
                    <a:pt x="16" y="217"/>
                    <a:pt x="19" y="214"/>
                  </a:cubicBezTo>
                  <a:cubicBezTo>
                    <a:pt x="22" y="211"/>
                    <a:pt x="22" y="206"/>
                    <a:pt x="25" y="207"/>
                  </a:cubicBezTo>
                  <a:cubicBezTo>
                    <a:pt x="28" y="209"/>
                    <a:pt x="29" y="215"/>
                    <a:pt x="30" y="215"/>
                  </a:cubicBezTo>
                  <a:cubicBezTo>
                    <a:pt x="32" y="215"/>
                    <a:pt x="38" y="212"/>
                    <a:pt x="41" y="209"/>
                  </a:cubicBezTo>
                  <a:cubicBezTo>
                    <a:pt x="43" y="206"/>
                    <a:pt x="52" y="204"/>
                    <a:pt x="61" y="203"/>
                  </a:cubicBezTo>
                  <a:cubicBezTo>
                    <a:pt x="70" y="201"/>
                    <a:pt x="74" y="197"/>
                    <a:pt x="74" y="201"/>
                  </a:cubicBezTo>
                  <a:cubicBezTo>
                    <a:pt x="74" y="205"/>
                    <a:pt x="75" y="207"/>
                    <a:pt x="81" y="210"/>
                  </a:cubicBezTo>
                  <a:cubicBezTo>
                    <a:pt x="87" y="212"/>
                    <a:pt x="99" y="207"/>
                    <a:pt x="103" y="204"/>
                  </a:cubicBezTo>
                  <a:cubicBezTo>
                    <a:pt x="107" y="201"/>
                    <a:pt x="116" y="202"/>
                    <a:pt x="118" y="199"/>
                  </a:cubicBezTo>
                  <a:cubicBezTo>
                    <a:pt x="119" y="195"/>
                    <a:pt x="117" y="191"/>
                    <a:pt x="114" y="189"/>
                  </a:cubicBezTo>
                  <a:cubicBezTo>
                    <a:pt x="111" y="187"/>
                    <a:pt x="108" y="182"/>
                    <a:pt x="110" y="178"/>
                  </a:cubicBezTo>
                  <a:cubicBezTo>
                    <a:pt x="111" y="174"/>
                    <a:pt x="116" y="169"/>
                    <a:pt x="120" y="172"/>
                  </a:cubicBezTo>
                  <a:cubicBezTo>
                    <a:pt x="124" y="174"/>
                    <a:pt x="132" y="174"/>
                    <a:pt x="135" y="171"/>
                  </a:cubicBezTo>
                  <a:cubicBezTo>
                    <a:pt x="138" y="169"/>
                    <a:pt x="144" y="165"/>
                    <a:pt x="148" y="166"/>
                  </a:cubicBezTo>
                  <a:cubicBezTo>
                    <a:pt x="151" y="167"/>
                    <a:pt x="162" y="168"/>
                    <a:pt x="163" y="171"/>
                  </a:cubicBezTo>
                  <a:cubicBezTo>
                    <a:pt x="164" y="174"/>
                    <a:pt x="165" y="176"/>
                    <a:pt x="164" y="177"/>
                  </a:cubicBezTo>
                  <a:cubicBezTo>
                    <a:pt x="162" y="179"/>
                    <a:pt x="170" y="178"/>
                    <a:pt x="171" y="178"/>
                  </a:cubicBezTo>
                  <a:cubicBezTo>
                    <a:pt x="172" y="179"/>
                    <a:pt x="168" y="185"/>
                    <a:pt x="165" y="187"/>
                  </a:cubicBezTo>
                  <a:cubicBezTo>
                    <a:pt x="163" y="188"/>
                    <a:pt x="172" y="183"/>
                    <a:pt x="176" y="186"/>
                  </a:cubicBezTo>
                  <a:cubicBezTo>
                    <a:pt x="180" y="190"/>
                    <a:pt x="183" y="190"/>
                    <a:pt x="181" y="193"/>
                  </a:cubicBezTo>
                  <a:cubicBezTo>
                    <a:pt x="179" y="195"/>
                    <a:pt x="173" y="195"/>
                    <a:pt x="171" y="197"/>
                  </a:cubicBezTo>
                  <a:cubicBezTo>
                    <a:pt x="170" y="198"/>
                    <a:pt x="175" y="198"/>
                    <a:pt x="182" y="203"/>
                  </a:cubicBezTo>
                  <a:cubicBezTo>
                    <a:pt x="189" y="208"/>
                    <a:pt x="201" y="217"/>
                    <a:pt x="203" y="218"/>
                  </a:cubicBezTo>
                  <a:cubicBezTo>
                    <a:pt x="205" y="219"/>
                    <a:pt x="219" y="223"/>
                    <a:pt x="218" y="216"/>
                  </a:cubicBezTo>
                  <a:cubicBezTo>
                    <a:pt x="218" y="210"/>
                    <a:pt x="215" y="202"/>
                    <a:pt x="212" y="196"/>
                  </a:cubicBezTo>
                  <a:cubicBezTo>
                    <a:pt x="209" y="191"/>
                    <a:pt x="208" y="183"/>
                    <a:pt x="210" y="183"/>
                  </a:cubicBezTo>
                  <a:cubicBezTo>
                    <a:pt x="212" y="182"/>
                    <a:pt x="218" y="186"/>
                    <a:pt x="222" y="187"/>
                  </a:cubicBezTo>
                  <a:cubicBezTo>
                    <a:pt x="226" y="189"/>
                    <a:pt x="236" y="186"/>
                    <a:pt x="236" y="184"/>
                  </a:cubicBezTo>
                  <a:cubicBezTo>
                    <a:pt x="237" y="182"/>
                    <a:pt x="236" y="174"/>
                    <a:pt x="243" y="171"/>
                  </a:cubicBezTo>
                  <a:cubicBezTo>
                    <a:pt x="249" y="167"/>
                    <a:pt x="251" y="166"/>
                    <a:pt x="257" y="168"/>
                  </a:cubicBezTo>
                  <a:cubicBezTo>
                    <a:pt x="263" y="170"/>
                    <a:pt x="265" y="164"/>
                    <a:pt x="261" y="163"/>
                  </a:cubicBezTo>
                  <a:cubicBezTo>
                    <a:pt x="258" y="162"/>
                    <a:pt x="258" y="159"/>
                    <a:pt x="261" y="156"/>
                  </a:cubicBezTo>
                  <a:cubicBezTo>
                    <a:pt x="265" y="154"/>
                    <a:pt x="273" y="154"/>
                    <a:pt x="272" y="151"/>
                  </a:cubicBezTo>
                  <a:cubicBezTo>
                    <a:pt x="271" y="148"/>
                    <a:pt x="262" y="142"/>
                    <a:pt x="261" y="139"/>
                  </a:cubicBezTo>
                  <a:cubicBezTo>
                    <a:pt x="261" y="136"/>
                    <a:pt x="262" y="131"/>
                    <a:pt x="260" y="132"/>
                  </a:cubicBezTo>
                  <a:cubicBezTo>
                    <a:pt x="258" y="134"/>
                    <a:pt x="255" y="139"/>
                    <a:pt x="252" y="134"/>
                  </a:cubicBezTo>
                  <a:cubicBezTo>
                    <a:pt x="248" y="129"/>
                    <a:pt x="252" y="127"/>
                    <a:pt x="255" y="126"/>
                  </a:cubicBezTo>
                  <a:cubicBezTo>
                    <a:pt x="259" y="125"/>
                    <a:pt x="259" y="120"/>
                    <a:pt x="258" y="118"/>
                  </a:cubicBezTo>
                  <a:cubicBezTo>
                    <a:pt x="257" y="117"/>
                    <a:pt x="250" y="114"/>
                    <a:pt x="251" y="113"/>
                  </a:cubicBezTo>
                  <a:cubicBezTo>
                    <a:pt x="252" y="112"/>
                    <a:pt x="253" y="109"/>
                    <a:pt x="257" y="109"/>
                  </a:cubicBezTo>
                  <a:cubicBezTo>
                    <a:pt x="260" y="110"/>
                    <a:pt x="267" y="105"/>
                    <a:pt x="271" y="102"/>
                  </a:cubicBezTo>
                  <a:cubicBezTo>
                    <a:pt x="275" y="98"/>
                    <a:pt x="281" y="96"/>
                    <a:pt x="286" y="92"/>
                  </a:cubicBezTo>
                  <a:cubicBezTo>
                    <a:pt x="290" y="89"/>
                    <a:pt x="298" y="83"/>
                    <a:pt x="299" y="86"/>
                  </a:cubicBezTo>
                  <a:cubicBezTo>
                    <a:pt x="301" y="88"/>
                    <a:pt x="295" y="92"/>
                    <a:pt x="294" y="95"/>
                  </a:cubicBezTo>
                  <a:cubicBezTo>
                    <a:pt x="293" y="98"/>
                    <a:pt x="300" y="94"/>
                    <a:pt x="302" y="92"/>
                  </a:cubicBezTo>
                  <a:cubicBezTo>
                    <a:pt x="304" y="90"/>
                    <a:pt x="305" y="95"/>
                    <a:pt x="306" y="97"/>
                  </a:cubicBezTo>
                  <a:cubicBezTo>
                    <a:pt x="307" y="99"/>
                    <a:pt x="310" y="95"/>
                    <a:pt x="307" y="90"/>
                  </a:cubicBezTo>
                  <a:cubicBezTo>
                    <a:pt x="304" y="85"/>
                    <a:pt x="305" y="82"/>
                    <a:pt x="308" y="78"/>
                  </a:cubicBezTo>
                  <a:cubicBezTo>
                    <a:pt x="312" y="75"/>
                    <a:pt x="319" y="71"/>
                    <a:pt x="325" y="69"/>
                  </a:cubicBezTo>
                  <a:cubicBezTo>
                    <a:pt x="331" y="67"/>
                    <a:pt x="336" y="69"/>
                    <a:pt x="335" y="72"/>
                  </a:cubicBezTo>
                  <a:cubicBezTo>
                    <a:pt x="333" y="75"/>
                    <a:pt x="331" y="81"/>
                    <a:pt x="336" y="79"/>
                  </a:cubicBezTo>
                  <a:cubicBezTo>
                    <a:pt x="341" y="78"/>
                    <a:pt x="345" y="74"/>
                    <a:pt x="347" y="76"/>
                  </a:cubicBezTo>
                  <a:cubicBezTo>
                    <a:pt x="349" y="78"/>
                    <a:pt x="353" y="78"/>
                    <a:pt x="356" y="74"/>
                  </a:cubicBezTo>
                  <a:cubicBezTo>
                    <a:pt x="359" y="70"/>
                    <a:pt x="366" y="69"/>
                    <a:pt x="368" y="72"/>
                  </a:cubicBezTo>
                  <a:cubicBezTo>
                    <a:pt x="370" y="75"/>
                    <a:pt x="381" y="71"/>
                    <a:pt x="383" y="64"/>
                  </a:cubicBezTo>
                  <a:cubicBezTo>
                    <a:pt x="385" y="56"/>
                    <a:pt x="385" y="49"/>
                    <a:pt x="391" y="43"/>
                  </a:cubicBezTo>
                  <a:cubicBezTo>
                    <a:pt x="396" y="37"/>
                    <a:pt x="399" y="30"/>
                    <a:pt x="407" y="23"/>
                  </a:cubicBezTo>
                  <a:cubicBezTo>
                    <a:pt x="415" y="15"/>
                    <a:pt x="428" y="16"/>
                    <a:pt x="434" y="19"/>
                  </a:cubicBezTo>
                  <a:cubicBezTo>
                    <a:pt x="440" y="22"/>
                    <a:pt x="438" y="25"/>
                    <a:pt x="443" y="29"/>
                  </a:cubicBezTo>
                  <a:cubicBezTo>
                    <a:pt x="447" y="32"/>
                    <a:pt x="452" y="26"/>
                    <a:pt x="453" y="23"/>
                  </a:cubicBezTo>
                  <a:cubicBezTo>
                    <a:pt x="455" y="20"/>
                    <a:pt x="460" y="24"/>
                    <a:pt x="464" y="27"/>
                  </a:cubicBezTo>
                  <a:cubicBezTo>
                    <a:pt x="468" y="31"/>
                    <a:pt x="474" y="32"/>
                    <a:pt x="474" y="30"/>
                  </a:cubicBezTo>
                  <a:cubicBezTo>
                    <a:pt x="474" y="28"/>
                    <a:pt x="468" y="26"/>
                    <a:pt x="465" y="20"/>
                  </a:cubicBezTo>
                  <a:cubicBezTo>
                    <a:pt x="462" y="15"/>
                    <a:pt x="462" y="14"/>
                    <a:pt x="464" y="9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501" y="36"/>
                    <a:pt x="501" y="36"/>
                    <a:pt x="501" y="36"/>
                  </a:cubicBezTo>
                  <a:cubicBezTo>
                    <a:pt x="490" y="46"/>
                    <a:pt x="490" y="46"/>
                    <a:pt x="490" y="46"/>
                  </a:cubicBezTo>
                  <a:cubicBezTo>
                    <a:pt x="490" y="53"/>
                    <a:pt x="490" y="53"/>
                    <a:pt x="490" y="53"/>
                  </a:cubicBezTo>
                  <a:cubicBezTo>
                    <a:pt x="486" y="62"/>
                    <a:pt x="486" y="62"/>
                    <a:pt x="486" y="62"/>
                  </a:cubicBezTo>
                  <a:cubicBezTo>
                    <a:pt x="484" y="67"/>
                    <a:pt x="484" y="67"/>
                    <a:pt x="484" y="67"/>
                  </a:cubicBezTo>
                  <a:cubicBezTo>
                    <a:pt x="483" y="75"/>
                    <a:pt x="483" y="75"/>
                    <a:pt x="483" y="75"/>
                  </a:cubicBezTo>
                  <a:cubicBezTo>
                    <a:pt x="490" y="83"/>
                    <a:pt x="490" y="83"/>
                    <a:pt x="490" y="83"/>
                  </a:cubicBezTo>
                  <a:cubicBezTo>
                    <a:pt x="490" y="91"/>
                    <a:pt x="490" y="91"/>
                    <a:pt x="490" y="91"/>
                  </a:cubicBezTo>
                  <a:cubicBezTo>
                    <a:pt x="503" y="91"/>
                    <a:pt x="503" y="91"/>
                    <a:pt x="503" y="91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30" y="116"/>
                    <a:pt x="530" y="116"/>
                    <a:pt x="530" y="116"/>
                  </a:cubicBezTo>
                  <a:cubicBezTo>
                    <a:pt x="529" y="123"/>
                    <a:pt x="529" y="123"/>
                    <a:pt x="529" y="123"/>
                  </a:cubicBezTo>
                  <a:cubicBezTo>
                    <a:pt x="517" y="123"/>
                    <a:pt x="517" y="123"/>
                    <a:pt x="517" y="123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09" y="131"/>
                    <a:pt x="509" y="131"/>
                    <a:pt x="509" y="131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4" y="149"/>
                    <a:pt x="504" y="149"/>
                    <a:pt x="504" y="149"/>
                  </a:cubicBezTo>
                  <a:cubicBezTo>
                    <a:pt x="512" y="153"/>
                    <a:pt x="512" y="153"/>
                    <a:pt x="512" y="153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514" y="168"/>
                    <a:pt x="514" y="168"/>
                    <a:pt x="514" y="168"/>
                  </a:cubicBezTo>
                  <a:cubicBezTo>
                    <a:pt x="513" y="181"/>
                    <a:pt x="513" y="181"/>
                    <a:pt x="513" y="181"/>
                  </a:cubicBezTo>
                  <a:cubicBezTo>
                    <a:pt x="525" y="191"/>
                    <a:pt x="525" y="191"/>
                    <a:pt x="525" y="191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21" y="202"/>
                    <a:pt x="521" y="202"/>
                    <a:pt x="521" y="202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6" y="222"/>
                    <a:pt x="516" y="222"/>
                    <a:pt x="516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2" y="221"/>
                    <a:pt x="502" y="221"/>
                    <a:pt x="502" y="221"/>
                  </a:cubicBezTo>
                  <a:cubicBezTo>
                    <a:pt x="501" y="229"/>
                    <a:pt x="501" y="229"/>
                    <a:pt x="501" y="229"/>
                  </a:cubicBezTo>
                  <a:cubicBezTo>
                    <a:pt x="494" y="234"/>
                    <a:pt x="494" y="234"/>
                    <a:pt x="494" y="234"/>
                  </a:cubicBezTo>
                  <a:cubicBezTo>
                    <a:pt x="488" y="239"/>
                    <a:pt x="488" y="239"/>
                    <a:pt x="488" y="239"/>
                  </a:cubicBezTo>
                  <a:cubicBezTo>
                    <a:pt x="501" y="245"/>
                    <a:pt x="501" y="245"/>
                    <a:pt x="501" y="245"/>
                  </a:cubicBezTo>
                  <a:cubicBezTo>
                    <a:pt x="497" y="251"/>
                    <a:pt x="497" y="251"/>
                    <a:pt x="497" y="251"/>
                  </a:cubicBezTo>
                  <a:cubicBezTo>
                    <a:pt x="494" y="252"/>
                    <a:pt x="494" y="252"/>
                    <a:pt x="494" y="252"/>
                  </a:cubicBezTo>
                  <a:cubicBezTo>
                    <a:pt x="486" y="256"/>
                    <a:pt x="486" y="256"/>
                    <a:pt x="486" y="256"/>
                  </a:cubicBezTo>
                  <a:cubicBezTo>
                    <a:pt x="479" y="263"/>
                    <a:pt x="479" y="263"/>
                    <a:pt x="479" y="263"/>
                  </a:cubicBezTo>
                  <a:cubicBezTo>
                    <a:pt x="483" y="269"/>
                    <a:pt x="483" y="269"/>
                    <a:pt x="483" y="269"/>
                  </a:cubicBezTo>
                  <a:cubicBezTo>
                    <a:pt x="484" y="277"/>
                    <a:pt x="484" y="277"/>
                    <a:pt x="484" y="277"/>
                  </a:cubicBezTo>
                  <a:cubicBezTo>
                    <a:pt x="489" y="288"/>
                    <a:pt x="489" y="288"/>
                    <a:pt x="489" y="288"/>
                  </a:cubicBezTo>
                  <a:cubicBezTo>
                    <a:pt x="500" y="300"/>
                    <a:pt x="500" y="300"/>
                    <a:pt x="500" y="300"/>
                  </a:cubicBezTo>
                  <a:cubicBezTo>
                    <a:pt x="509" y="307"/>
                    <a:pt x="509" y="307"/>
                    <a:pt x="509" y="307"/>
                  </a:cubicBezTo>
                  <a:cubicBezTo>
                    <a:pt x="511" y="318"/>
                    <a:pt x="511" y="318"/>
                    <a:pt x="511" y="318"/>
                  </a:cubicBezTo>
                  <a:cubicBezTo>
                    <a:pt x="509" y="318"/>
                    <a:pt x="509" y="318"/>
                    <a:pt x="509" y="318"/>
                  </a:cubicBezTo>
                  <a:cubicBezTo>
                    <a:pt x="512" y="336"/>
                    <a:pt x="512" y="336"/>
                    <a:pt x="512" y="336"/>
                  </a:cubicBezTo>
                  <a:cubicBezTo>
                    <a:pt x="504" y="332"/>
                    <a:pt x="504" y="332"/>
                    <a:pt x="504" y="332"/>
                  </a:cubicBezTo>
                  <a:cubicBezTo>
                    <a:pt x="499" y="333"/>
                    <a:pt x="499" y="333"/>
                    <a:pt x="499" y="333"/>
                  </a:cubicBezTo>
                  <a:cubicBezTo>
                    <a:pt x="492" y="341"/>
                    <a:pt x="492" y="341"/>
                    <a:pt x="492" y="341"/>
                  </a:cubicBezTo>
                  <a:cubicBezTo>
                    <a:pt x="484" y="348"/>
                    <a:pt x="484" y="348"/>
                    <a:pt x="484" y="348"/>
                  </a:cubicBezTo>
                  <a:cubicBezTo>
                    <a:pt x="478" y="350"/>
                    <a:pt x="478" y="350"/>
                    <a:pt x="478" y="350"/>
                  </a:cubicBezTo>
                  <a:cubicBezTo>
                    <a:pt x="467" y="345"/>
                    <a:pt x="467" y="345"/>
                    <a:pt x="467" y="345"/>
                  </a:cubicBezTo>
                  <a:cubicBezTo>
                    <a:pt x="459" y="345"/>
                    <a:pt x="459" y="345"/>
                    <a:pt x="459" y="345"/>
                  </a:cubicBezTo>
                  <a:cubicBezTo>
                    <a:pt x="457" y="353"/>
                    <a:pt x="457" y="353"/>
                    <a:pt x="457" y="353"/>
                  </a:cubicBezTo>
                  <a:cubicBezTo>
                    <a:pt x="462" y="358"/>
                    <a:pt x="462" y="358"/>
                    <a:pt x="462" y="358"/>
                  </a:cubicBezTo>
                  <a:cubicBezTo>
                    <a:pt x="465" y="366"/>
                    <a:pt x="465" y="366"/>
                    <a:pt x="465" y="366"/>
                  </a:cubicBezTo>
                  <a:cubicBezTo>
                    <a:pt x="467" y="384"/>
                    <a:pt x="467" y="384"/>
                    <a:pt x="467" y="384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3" y="397"/>
                    <a:pt x="463" y="397"/>
                    <a:pt x="463" y="397"/>
                  </a:cubicBezTo>
                  <a:cubicBezTo>
                    <a:pt x="463" y="411"/>
                    <a:pt x="463" y="411"/>
                    <a:pt x="463" y="411"/>
                  </a:cubicBezTo>
                  <a:cubicBezTo>
                    <a:pt x="473" y="414"/>
                    <a:pt x="473" y="414"/>
                    <a:pt x="473" y="414"/>
                  </a:cubicBezTo>
                  <a:cubicBezTo>
                    <a:pt x="479" y="423"/>
                    <a:pt x="479" y="423"/>
                    <a:pt x="479" y="423"/>
                  </a:cubicBezTo>
                  <a:cubicBezTo>
                    <a:pt x="486" y="432"/>
                    <a:pt x="486" y="432"/>
                    <a:pt x="486" y="432"/>
                  </a:cubicBezTo>
                  <a:cubicBezTo>
                    <a:pt x="486" y="436"/>
                    <a:pt x="486" y="436"/>
                    <a:pt x="486" y="436"/>
                  </a:cubicBezTo>
                  <a:cubicBezTo>
                    <a:pt x="478" y="438"/>
                    <a:pt x="478" y="438"/>
                    <a:pt x="478" y="43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69" y="461"/>
                    <a:pt x="469" y="461"/>
                    <a:pt x="469" y="461"/>
                  </a:cubicBezTo>
                  <a:cubicBezTo>
                    <a:pt x="462" y="461"/>
                    <a:pt x="462" y="461"/>
                    <a:pt x="462" y="461"/>
                  </a:cubicBezTo>
                  <a:cubicBezTo>
                    <a:pt x="461" y="467"/>
                    <a:pt x="461" y="467"/>
                    <a:pt x="461" y="467"/>
                  </a:cubicBezTo>
                  <a:cubicBezTo>
                    <a:pt x="464" y="472"/>
                    <a:pt x="464" y="472"/>
                    <a:pt x="464" y="472"/>
                  </a:cubicBezTo>
                  <a:cubicBezTo>
                    <a:pt x="461" y="479"/>
                    <a:pt x="461" y="479"/>
                    <a:pt x="461" y="479"/>
                  </a:cubicBezTo>
                  <a:cubicBezTo>
                    <a:pt x="452" y="483"/>
                    <a:pt x="452" y="483"/>
                    <a:pt x="452" y="483"/>
                  </a:cubicBezTo>
                  <a:cubicBezTo>
                    <a:pt x="445" y="483"/>
                    <a:pt x="445" y="483"/>
                    <a:pt x="445" y="483"/>
                  </a:cubicBezTo>
                  <a:cubicBezTo>
                    <a:pt x="437" y="489"/>
                    <a:pt x="437" y="489"/>
                    <a:pt x="437" y="489"/>
                  </a:cubicBezTo>
                  <a:cubicBezTo>
                    <a:pt x="436" y="498"/>
                    <a:pt x="436" y="498"/>
                    <a:pt x="436" y="498"/>
                  </a:cubicBezTo>
                  <a:cubicBezTo>
                    <a:pt x="439" y="500"/>
                    <a:pt x="439" y="500"/>
                    <a:pt x="439" y="500"/>
                  </a:cubicBezTo>
                  <a:cubicBezTo>
                    <a:pt x="435" y="505"/>
                    <a:pt x="435" y="505"/>
                    <a:pt x="435" y="505"/>
                  </a:cubicBezTo>
                  <a:cubicBezTo>
                    <a:pt x="440" y="510"/>
                    <a:pt x="440" y="510"/>
                    <a:pt x="440" y="510"/>
                  </a:cubicBezTo>
                  <a:cubicBezTo>
                    <a:pt x="436" y="515"/>
                    <a:pt x="436" y="515"/>
                    <a:pt x="436" y="515"/>
                  </a:cubicBezTo>
                  <a:cubicBezTo>
                    <a:pt x="441" y="522"/>
                    <a:pt x="441" y="522"/>
                    <a:pt x="441" y="522"/>
                  </a:cubicBezTo>
                  <a:cubicBezTo>
                    <a:pt x="441" y="530"/>
                    <a:pt x="441" y="530"/>
                    <a:pt x="441" y="530"/>
                  </a:cubicBezTo>
                  <a:cubicBezTo>
                    <a:pt x="435" y="530"/>
                    <a:pt x="435" y="530"/>
                    <a:pt x="435" y="530"/>
                  </a:cubicBezTo>
                  <a:cubicBezTo>
                    <a:pt x="442" y="537"/>
                    <a:pt x="442" y="537"/>
                    <a:pt x="442" y="537"/>
                  </a:cubicBezTo>
                  <a:cubicBezTo>
                    <a:pt x="448" y="538"/>
                    <a:pt x="448" y="538"/>
                    <a:pt x="448" y="538"/>
                  </a:cubicBezTo>
                  <a:cubicBezTo>
                    <a:pt x="445" y="547"/>
                    <a:pt x="445" y="547"/>
                    <a:pt x="445" y="547"/>
                  </a:cubicBezTo>
                  <a:cubicBezTo>
                    <a:pt x="448" y="552"/>
                    <a:pt x="448" y="552"/>
                    <a:pt x="448" y="552"/>
                  </a:cubicBezTo>
                  <a:cubicBezTo>
                    <a:pt x="442" y="557"/>
                    <a:pt x="442" y="557"/>
                    <a:pt x="442" y="557"/>
                  </a:cubicBezTo>
                  <a:cubicBezTo>
                    <a:pt x="443" y="562"/>
                    <a:pt x="443" y="562"/>
                    <a:pt x="443" y="562"/>
                  </a:cubicBezTo>
                  <a:cubicBezTo>
                    <a:pt x="453" y="560"/>
                    <a:pt x="453" y="560"/>
                    <a:pt x="453" y="560"/>
                  </a:cubicBezTo>
                  <a:cubicBezTo>
                    <a:pt x="462" y="563"/>
                    <a:pt x="462" y="563"/>
                    <a:pt x="462" y="563"/>
                  </a:cubicBezTo>
                  <a:cubicBezTo>
                    <a:pt x="462" y="572"/>
                    <a:pt x="462" y="572"/>
                    <a:pt x="462" y="572"/>
                  </a:cubicBezTo>
                  <a:cubicBezTo>
                    <a:pt x="456" y="578"/>
                    <a:pt x="456" y="578"/>
                    <a:pt x="456" y="578"/>
                  </a:cubicBezTo>
                  <a:cubicBezTo>
                    <a:pt x="461" y="582"/>
                    <a:pt x="461" y="582"/>
                    <a:pt x="461" y="582"/>
                  </a:cubicBezTo>
                  <a:cubicBezTo>
                    <a:pt x="460" y="591"/>
                    <a:pt x="460" y="591"/>
                    <a:pt x="460" y="591"/>
                  </a:cubicBezTo>
                  <a:cubicBezTo>
                    <a:pt x="464" y="598"/>
                    <a:pt x="464" y="598"/>
                    <a:pt x="464" y="598"/>
                  </a:cubicBezTo>
                  <a:cubicBezTo>
                    <a:pt x="468" y="597"/>
                    <a:pt x="468" y="597"/>
                    <a:pt x="468" y="597"/>
                  </a:cubicBezTo>
                  <a:cubicBezTo>
                    <a:pt x="462" y="598"/>
                    <a:pt x="462" y="598"/>
                    <a:pt x="462" y="598"/>
                  </a:cubicBezTo>
                  <a:cubicBezTo>
                    <a:pt x="442" y="613"/>
                    <a:pt x="442" y="613"/>
                    <a:pt x="442" y="613"/>
                  </a:cubicBezTo>
                  <a:cubicBezTo>
                    <a:pt x="443" y="618"/>
                    <a:pt x="443" y="618"/>
                    <a:pt x="443" y="618"/>
                  </a:cubicBezTo>
                  <a:cubicBezTo>
                    <a:pt x="435" y="623"/>
                    <a:pt x="435" y="623"/>
                    <a:pt x="435" y="623"/>
                  </a:cubicBezTo>
                  <a:cubicBezTo>
                    <a:pt x="427" y="623"/>
                    <a:pt x="427" y="623"/>
                    <a:pt x="427" y="623"/>
                  </a:cubicBezTo>
                  <a:cubicBezTo>
                    <a:pt x="422" y="625"/>
                    <a:pt x="422" y="625"/>
                    <a:pt x="422" y="625"/>
                  </a:cubicBezTo>
                  <a:cubicBezTo>
                    <a:pt x="421" y="630"/>
                    <a:pt x="421" y="630"/>
                    <a:pt x="421" y="630"/>
                  </a:cubicBezTo>
                  <a:cubicBezTo>
                    <a:pt x="411" y="628"/>
                    <a:pt x="411" y="628"/>
                    <a:pt x="411" y="628"/>
                  </a:cubicBezTo>
                  <a:cubicBezTo>
                    <a:pt x="399" y="642"/>
                    <a:pt x="399" y="642"/>
                    <a:pt x="399" y="642"/>
                  </a:cubicBezTo>
                  <a:cubicBezTo>
                    <a:pt x="393" y="638"/>
                    <a:pt x="393" y="638"/>
                    <a:pt x="393" y="638"/>
                  </a:cubicBezTo>
                  <a:cubicBezTo>
                    <a:pt x="389" y="642"/>
                    <a:pt x="389" y="642"/>
                    <a:pt x="389" y="642"/>
                  </a:cubicBezTo>
                  <a:cubicBezTo>
                    <a:pt x="385" y="639"/>
                    <a:pt x="385" y="639"/>
                    <a:pt x="385" y="639"/>
                  </a:cubicBezTo>
                  <a:cubicBezTo>
                    <a:pt x="382" y="643"/>
                    <a:pt x="382" y="643"/>
                    <a:pt x="382" y="643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361" y="639"/>
                    <a:pt x="361" y="639"/>
                    <a:pt x="361" y="639"/>
                  </a:cubicBezTo>
                  <a:cubicBezTo>
                    <a:pt x="353" y="638"/>
                    <a:pt x="353" y="638"/>
                    <a:pt x="353" y="638"/>
                  </a:cubicBezTo>
                  <a:cubicBezTo>
                    <a:pt x="350" y="643"/>
                    <a:pt x="350" y="643"/>
                    <a:pt x="350" y="64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4" y="645"/>
                    <a:pt x="334" y="645"/>
                    <a:pt x="334" y="645"/>
                  </a:cubicBezTo>
                  <a:cubicBezTo>
                    <a:pt x="325" y="641"/>
                    <a:pt x="325" y="641"/>
                    <a:pt x="325" y="641"/>
                  </a:cubicBezTo>
                  <a:cubicBezTo>
                    <a:pt x="319" y="644"/>
                    <a:pt x="319" y="644"/>
                    <a:pt x="319" y="644"/>
                  </a:cubicBezTo>
                  <a:cubicBezTo>
                    <a:pt x="312" y="638"/>
                    <a:pt x="312" y="638"/>
                    <a:pt x="312" y="638"/>
                  </a:cubicBezTo>
                  <a:cubicBezTo>
                    <a:pt x="309" y="643"/>
                    <a:pt x="309" y="643"/>
                    <a:pt x="309" y="643"/>
                  </a:cubicBezTo>
                  <a:cubicBezTo>
                    <a:pt x="301" y="643"/>
                    <a:pt x="301" y="643"/>
                    <a:pt x="301" y="643"/>
                  </a:cubicBezTo>
                  <a:cubicBezTo>
                    <a:pt x="290" y="654"/>
                    <a:pt x="290" y="654"/>
                    <a:pt x="290" y="654"/>
                  </a:cubicBezTo>
                  <a:cubicBezTo>
                    <a:pt x="287" y="653"/>
                    <a:pt x="287" y="653"/>
                    <a:pt x="287" y="653"/>
                  </a:cubicBezTo>
                  <a:cubicBezTo>
                    <a:pt x="286" y="647"/>
                    <a:pt x="286" y="647"/>
                    <a:pt x="286" y="647"/>
                  </a:cubicBezTo>
                  <a:cubicBezTo>
                    <a:pt x="281" y="643"/>
                    <a:pt x="281" y="643"/>
                    <a:pt x="281" y="643"/>
                  </a:cubicBezTo>
                  <a:cubicBezTo>
                    <a:pt x="275" y="637"/>
                    <a:pt x="275" y="637"/>
                    <a:pt x="275" y="637"/>
                  </a:cubicBezTo>
                  <a:cubicBezTo>
                    <a:pt x="269" y="636"/>
                    <a:pt x="269" y="636"/>
                    <a:pt x="269" y="636"/>
                  </a:cubicBezTo>
                  <a:cubicBezTo>
                    <a:pt x="267" y="628"/>
                    <a:pt x="267" y="628"/>
                    <a:pt x="267" y="628"/>
                  </a:cubicBezTo>
                  <a:cubicBezTo>
                    <a:pt x="264" y="625"/>
                    <a:pt x="264" y="625"/>
                    <a:pt x="264" y="625"/>
                  </a:cubicBezTo>
                  <a:cubicBezTo>
                    <a:pt x="265" y="619"/>
                    <a:pt x="265" y="619"/>
                    <a:pt x="265" y="619"/>
                  </a:cubicBezTo>
                  <a:cubicBezTo>
                    <a:pt x="253" y="606"/>
                    <a:pt x="253" y="606"/>
                    <a:pt x="253" y="606"/>
                  </a:cubicBezTo>
                  <a:cubicBezTo>
                    <a:pt x="252" y="603"/>
                    <a:pt x="252" y="603"/>
                    <a:pt x="252" y="603"/>
                  </a:cubicBezTo>
                  <a:cubicBezTo>
                    <a:pt x="248" y="603"/>
                    <a:pt x="248" y="603"/>
                    <a:pt x="248" y="603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38" y="587"/>
                    <a:pt x="238" y="587"/>
                    <a:pt x="238" y="587"/>
                  </a:cubicBezTo>
                  <a:cubicBezTo>
                    <a:pt x="234" y="591"/>
                    <a:pt x="234" y="591"/>
                    <a:pt x="234" y="591"/>
                  </a:cubicBezTo>
                  <a:cubicBezTo>
                    <a:pt x="231" y="595"/>
                    <a:pt x="231" y="595"/>
                    <a:pt x="231" y="595"/>
                  </a:cubicBezTo>
                  <a:cubicBezTo>
                    <a:pt x="225" y="598"/>
                    <a:pt x="225" y="598"/>
                    <a:pt x="225" y="598"/>
                  </a:cubicBezTo>
                  <a:cubicBezTo>
                    <a:pt x="220" y="592"/>
                    <a:pt x="220" y="592"/>
                    <a:pt x="220" y="592"/>
                  </a:cubicBezTo>
                  <a:cubicBezTo>
                    <a:pt x="219" y="586"/>
                    <a:pt x="219" y="586"/>
                    <a:pt x="219" y="586"/>
                  </a:cubicBezTo>
                  <a:cubicBezTo>
                    <a:pt x="211" y="583"/>
                    <a:pt x="211" y="583"/>
                    <a:pt x="211" y="583"/>
                  </a:cubicBezTo>
                  <a:cubicBezTo>
                    <a:pt x="211" y="583"/>
                    <a:pt x="204" y="580"/>
                    <a:pt x="204" y="580"/>
                  </a:cubicBezTo>
                  <a:cubicBezTo>
                    <a:pt x="203" y="580"/>
                    <a:pt x="189" y="580"/>
                    <a:pt x="189" y="580"/>
                  </a:cubicBezTo>
                  <a:cubicBezTo>
                    <a:pt x="184" y="586"/>
                    <a:pt x="184" y="586"/>
                    <a:pt x="184" y="586"/>
                  </a:cubicBezTo>
                  <a:cubicBezTo>
                    <a:pt x="182" y="592"/>
                    <a:pt x="182" y="592"/>
                    <a:pt x="182" y="592"/>
                  </a:cubicBezTo>
                  <a:cubicBezTo>
                    <a:pt x="178" y="595"/>
                    <a:pt x="178" y="595"/>
                    <a:pt x="178" y="595"/>
                  </a:cubicBezTo>
                  <a:cubicBezTo>
                    <a:pt x="183" y="602"/>
                    <a:pt x="183" y="602"/>
                    <a:pt x="183" y="602"/>
                  </a:cubicBezTo>
                  <a:cubicBezTo>
                    <a:pt x="177" y="608"/>
                    <a:pt x="177" y="608"/>
                    <a:pt x="177" y="608"/>
                  </a:cubicBezTo>
                  <a:cubicBezTo>
                    <a:pt x="172" y="616"/>
                    <a:pt x="172" y="616"/>
                    <a:pt x="172" y="616"/>
                  </a:cubicBezTo>
                  <a:cubicBezTo>
                    <a:pt x="173" y="628"/>
                    <a:pt x="173" y="628"/>
                    <a:pt x="173" y="628"/>
                  </a:cubicBezTo>
                  <a:cubicBezTo>
                    <a:pt x="164" y="633"/>
                    <a:pt x="164" y="633"/>
                    <a:pt x="164" y="633"/>
                  </a:cubicBezTo>
                  <a:cubicBezTo>
                    <a:pt x="164" y="641"/>
                    <a:pt x="164" y="641"/>
                    <a:pt x="164" y="641"/>
                  </a:cubicBezTo>
                  <a:cubicBezTo>
                    <a:pt x="160" y="637"/>
                    <a:pt x="160" y="637"/>
                    <a:pt x="160" y="637"/>
                  </a:cubicBezTo>
                  <a:cubicBezTo>
                    <a:pt x="159" y="630"/>
                    <a:pt x="159" y="630"/>
                    <a:pt x="159" y="630"/>
                  </a:cubicBezTo>
                  <a:cubicBezTo>
                    <a:pt x="156" y="627"/>
                    <a:pt x="156" y="627"/>
                    <a:pt x="156" y="627"/>
                  </a:cubicBezTo>
                  <a:cubicBezTo>
                    <a:pt x="151" y="632"/>
                    <a:pt x="151" y="632"/>
                    <a:pt x="151" y="632"/>
                  </a:cubicBezTo>
                  <a:cubicBezTo>
                    <a:pt x="146" y="634"/>
                    <a:pt x="146" y="634"/>
                    <a:pt x="146" y="634"/>
                  </a:cubicBezTo>
                  <a:cubicBezTo>
                    <a:pt x="136" y="637"/>
                    <a:pt x="136" y="637"/>
                    <a:pt x="136" y="637"/>
                  </a:cubicBezTo>
                  <a:cubicBezTo>
                    <a:pt x="129" y="648"/>
                    <a:pt x="129" y="648"/>
                    <a:pt x="129" y="648"/>
                  </a:cubicBezTo>
                  <a:cubicBezTo>
                    <a:pt x="121" y="649"/>
                    <a:pt x="121" y="649"/>
                    <a:pt x="121" y="649"/>
                  </a:cubicBezTo>
                  <a:cubicBezTo>
                    <a:pt x="112" y="641"/>
                    <a:pt x="112" y="641"/>
                    <a:pt x="112" y="641"/>
                  </a:cubicBezTo>
                  <a:cubicBezTo>
                    <a:pt x="112" y="613"/>
                    <a:pt x="112" y="613"/>
                    <a:pt x="112" y="613"/>
                  </a:cubicBezTo>
                  <a:cubicBezTo>
                    <a:pt x="113" y="601"/>
                    <a:pt x="113" y="601"/>
                    <a:pt x="113" y="601"/>
                  </a:cubicBezTo>
                  <a:cubicBezTo>
                    <a:pt x="114" y="589"/>
                    <a:pt x="114" y="589"/>
                    <a:pt x="114" y="589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3" y="578"/>
                    <a:pt x="103" y="578"/>
                    <a:pt x="103" y="578"/>
                  </a:cubicBezTo>
                  <a:cubicBezTo>
                    <a:pt x="100" y="573"/>
                    <a:pt x="100" y="573"/>
                    <a:pt x="100" y="573"/>
                  </a:cubicBezTo>
                  <a:cubicBezTo>
                    <a:pt x="97" y="571"/>
                    <a:pt x="97" y="571"/>
                    <a:pt x="97" y="571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100" y="563"/>
                    <a:pt x="100" y="563"/>
                    <a:pt x="100" y="563"/>
                  </a:cubicBezTo>
                  <a:cubicBezTo>
                    <a:pt x="100" y="557"/>
                    <a:pt x="100" y="557"/>
                    <a:pt x="100" y="557"/>
                  </a:cubicBezTo>
                  <a:cubicBezTo>
                    <a:pt x="95" y="554"/>
                    <a:pt x="95" y="554"/>
                    <a:pt x="95" y="554"/>
                  </a:cubicBezTo>
                  <a:cubicBezTo>
                    <a:pt x="86" y="551"/>
                    <a:pt x="86" y="551"/>
                    <a:pt x="86" y="551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85" y="538"/>
                    <a:pt x="85" y="538"/>
                    <a:pt x="85" y="538"/>
                  </a:cubicBezTo>
                  <a:cubicBezTo>
                    <a:pt x="81" y="530"/>
                    <a:pt x="81" y="530"/>
                    <a:pt x="81" y="530"/>
                  </a:cubicBezTo>
                  <a:cubicBezTo>
                    <a:pt x="76" y="524"/>
                    <a:pt x="76" y="524"/>
                    <a:pt x="76" y="524"/>
                  </a:cubicBezTo>
                  <a:cubicBezTo>
                    <a:pt x="66" y="526"/>
                    <a:pt x="66" y="526"/>
                    <a:pt x="66" y="526"/>
                  </a:cubicBezTo>
                  <a:cubicBezTo>
                    <a:pt x="63" y="520"/>
                    <a:pt x="63" y="520"/>
                    <a:pt x="63" y="520"/>
                  </a:cubicBezTo>
                  <a:cubicBezTo>
                    <a:pt x="70" y="516"/>
                    <a:pt x="70" y="516"/>
                    <a:pt x="70" y="516"/>
                  </a:cubicBezTo>
                  <a:cubicBezTo>
                    <a:pt x="65" y="510"/>
                    <a:pt x="65" y="510"/>
                    <a:pt x="65" y="510"/>
                  </a:cubicBezTo>
                  <a:cubicBezTo>
                    <a:pt x="64" y="504"/>
                    <a:pt x="64" y="504"/>
                    <a:pt x="64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56" y="507"/>
                    <a:pt x="56" y="507"/>
                    <a:pt x="56" y="507"/>
                  </a:cubicBezTo>
                  <a:cubicBezTo>
                    <a:pt x="50" y="505"/>
                    <a:pt x="50" y="505"/>
                    <a:pt x="50" y="505"/>
                  </a:cubicBezTo>
                  <a:cubicBezTo>
                    <a:pt x="45" y="508"/>
                    <a:pt x="45" y="508"/>
                    <a:pt x="45" y="508"/>
                  </a:cubicBezTo>
                  <a:cubicBezTo>
                    <a:pt x="41" y="505"/>
                    <a:pt x="41" y="505"/>
                    <a:pt x="41" y="505"/>
                  </a:cubicBezTo>
                  <a:cubicBezTo>
                    <a:pt x="34" y="508"/>
                    <a:pt x="34" y="508"/>
                    <a:pt x="34" y="508"/>
                  </a:cubicBezTo>
                  <a:cubicBezTo>
                    <a:pt x="27" y="507"/>
                    <a:pt x="27" y="507"/>
                    <a:pt x="27" y="507"/>
                  </a:cubicBezTo>
                  <a:cubicBezTo>
                    <a:pt x="27" y="498"/>
                    <a:pt x="27" y="498"/>
                    <a:pt x="27" y="498"/>
                  </a:cubicBezTo>
                  <a:cubicBezTo>
                    <a:pt x="28" y="496"/>
                    <a:pt x="28" y="496"/>
                    <a:pt x="28" y="496"/>
                  </a:cubicBezTo>
                  <a:cubicBezTo>
                    <a:pt x="28" y="489"/>
                    <a:pt x="28" y="489"/>
                    <a:pt x="28" y="489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25" y="467"/>
                    <a:pt x="25" y="467"/>
                    <a:pt x="25" y="467"/>
                  </a:cubicBezTo>
                  <a:cubicBezTo>
                    <a:pt x="24" y="458"/>
                    <a:pt x="24" y="458"/>
                    <a:pt x="24" y="458"/>
                  </a:cubicBezTo>
                  <a:cubicBezTo>
                    <a:pt x="18" y="454"/>
                    <a:pt x="18" y="454"/>
                    <a:pt x="18" y="454"/>
                  </a:cubicBezTo>
                  <a:cubicBezTo>
                    <a:pt x="17" y="449"/>
                    <a:pt x="17" y="449"/>
                    <a:pt x="17" y="449"/>
                  </a:cubicBezTo>
                  <a:cubicBezTo>
                    <a:pt x="20" y="446"/>
                    <a:pt x="20" y="446"/>
                    <a:pt x="20" y="446"/>
                  </a:cubicBezTo>
                  <a:cubicBezTo>
                    <a:pt x="17" y="442"/>
                    <a:pt x="17" y="442"/>
                    <a:pt x="17" y="442"/>
                  </a:cubicBezTo>
                  <a:cubicBezTo>
                    <a:pt x="17" y="437"/>
                    <a:pt x="17" y="437"/>
                    <a:pt x="17" y="437"/>
                  </a:cubicBezTo>
                  <a:cubicBezTo>
                    <a:pt x="8" y="437"/>
                    <a:pt x="8" y="437"/>
                    <a:pt x="8" y="437"/>
                  </a:cubicBezTo>
                  <a:cubicBezTo>
                    <a:pt x="7" y="433"/>
                    <a:pt x="7" y="433"/>
                    <a:pt x="7" y="433"/>
                  </a:cubicBezTo>
                  <a:cubicBezTo>
                    <a:pt x="14" y="426"/>
                    <a:pt x="14" y="426"/>
                    <a:pt x="14" y="426"/>
                  </a:cubicBezTo>
                  <a:cubicBezTo>
                    <a:pt x="19" y="424"/>
                    <a:pt x="19" y="424"/>
                    <a:pt x="19" y="424"/>
                  </a:cubicBezTo>
                  <a:cubicBezTo>
                    <a:pt x="15" y="395"/>
                    <a:pt x="15" y="395"/>
                    <a:pt x="15" y="395"/>
                  </a:cubicBezTo>
                  <a:cubicBezTo>
                    <a:pt x="11" y="385"/>
                    <a:pt x="11" y="385"/>
                    <a:pt x="11" y="38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14" y="342"/>
                    <a:pt x="14" y="342"/>
                    <a:pt x="14" y="342"/>
                  </a:cubicBezTo>
                  <a:cubicBezTo>
                    <a:pt x="21" y="344"/>
                    <a:pt x="21" y="344"/>
                    <a:pt x="21" y="344"/>
                  </a:cubicBezTo>
                  <a:cubicBezTo>
                    <a:pt x="26" y="344"/>
                    <a:pt x="26" y="344"/>
                    <a:pt x="26" y="344"/>
                  </a:cubicBezTo>
                  <a:cubicBezTo>
                    <a:pt x="29" y="335"/>
                    <a:pt x="29" y="335"/>
                    <a:pt x="29" y="335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31" y="322"/>
                    <a:pt x="31" y="322"/>
                    <a:pt x="31" y="322"/>
                  </a:cubicBezTo>
                  <a:cubicBezTo>
                    <a:pt x="31" y="311"/>
                    <a:pt x="31" y="311"/>
                    <a:pt x="31" y="311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6" y="295"/>
                    <a:pt x="46" y="295"/>
                    <a:pt x="46" y="295"/>
                  </a:cubicBezTo>
                  <a:cubicBezTo>
                    <a:pt x="47" y="286"/>
                    <a:pt x="47" y="286"/>
                    <a:pt x="47" y="286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37" y="280"/>
                    <a:pt x="37" y="280"/>
                    <a:pt x="37" y="280"/>
                  </a:cubicBezTo>
                  <a:cubicBezTo>
                    <a:pt x="35" y="270"/>
                    <a:pt x="35" y="270"/>
                    <a:pt x="35" y="27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3" y="249"/>
                    <a:pt x="13" y="249"/>
                    <a:pt x="13" y="249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7" y="231"/>
                    <a:pt x="7" y="231"/>
                    <a:pt x="7" y="23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4" y="211"/>
                    <a:pt x="4" y="211"/>
                    <a:pt x="4" y="211"/>
                  </a:cubicBezTo>
                  <a:close/>
                  <a:moveTo>
                    <a:pt x="229" y="18"/>
                  </a:moveTo>
                  <a:cubicBezTo>
                    <a:pt x="229" y="18"/>
                    <a:pt x="230" y="22"/>
                    <a:pt x="234" y="26"/>
                  </a:cubicBezTo>
                  <a:cubicBezTo>
                    <a:pt x="238" y="30"/>
                    <a:pt x="242" y="26"/>
                    <a:pt x="245" y="26"/>
                  </a:cubicBezTo>
                  <a:cubicBezTo>
                    <a:pt x="248" y="27"/>
                    <a:pt x="252" y="25"/>
                    <a:pt x="256" y="23"/>
                  </a:cubicBezTo>
                  <a:cubicBezTo>
                    <a:pt x="259" y="22"/>
                    <a:pt x="263" y="17"/>
                    <a:pt x="265" y="13"/>
                  </a:cubicBezTo>
                  <a:cubicBezTo>
                    <a:pt x="267" y="9"/>
                    <a:pt x="268" y="7"/>
                    <a:pt x="266" y="3"/>
                  </a:cubicBezTo>
                  <a:cubicBezTo>
                    <a:pt x="263" y="0"/>
                    <a:pt x="260" y="0"/>
                    <a:pt x="259" y="1"/>
                  </a:cubicBezTo>
                  <a:cubicBezTo>
                    <a:pt x="257" y="2"/>
                    <a:pt x="251" y="3"/>
                    <a:pt x="251" y="6"/>
                  </a:cubicBezTo>
                  <a:cubicBezTo>
                    <a:pt x="250" y="9"/>
                    <a:pt x="247" y="10"/>
                    <a:pt x="246" y="9"/>
                  </a:cubicBezTo>
                  <a:cubicBezTo>
                    <a:pt x="244" y="8"/>
                    <a:pt x="241" y="9"/>
                    <a:pt x="239" y="11"/>
                  </a:cubicBezTo>
                  <a:cubicBezTo>
                    <a:pt x="237" y="14"/>
                    <a:pt x="239" y="16"/>
                    <a:pt x="236" y="17"/>
                  </a:cubicBezTo>
                  <a:cubicBezTo>
                    <a:pt x="233" y="17"/>
                    <a:pt x="229" y="18"/>
                    <a:pt x="229" y="18"/>
                  </a:cubicBezTo>
                  <a:close/>
                  <a:moveTo>
                    <a:pt x="217" y="54"/>
                  </a:moveTo>
                  <a:cubicBezTo>
                    <a:pt x="217" y="54"/>
                    <a:pt x="221" y="54"/>
                    <a:pt x="223" y="53"/>
                  </a:cubicBezTo>
                  <a:cubicBezTo>
                    <a:pt x="224" y="53"/>
                    <a:pt x="225" y="49"/>
                    <a:pt x="225" y="48"/>
                  </a:cubicBezTo>
                  <a:cubicBezTo>
                    <a:pt x="224" y="46"/>
                    <a:pt x="220" y="45"/>
                    <a:pt x="222" y="45"/>
                  </a:cubicBezTo>
                  <a:cubicBezTo>
                    <a:pt x="224" y="45"/>
                    <a:pt x="226" y="44"/>
                    <a:pt x="228" y="41"/>
                  </a:cubicBezTo>
                  <a:cubicBezTo>
                    <a:pt x="230" y="38"/>
                    <a:pt x="227" y="36"/>
                    <a:pt x="225" y="32"/>
                  </a:cubicBezTo>
                  <a:cubicBezTo>
                    <a:pt x="223" y="29"/>
                    <a:pt x="221" y="24"/>
                    <a:pt x="217" y="23"/>
                  </a:cubicBezTo>
                  <a:cubicBezTo>
                    <a:pt x="213" y="21"/>
                    <a:pt x="205" y="25"/>
                    <a:pt x="203" y="27"/>
                  </a:cubicBezTo>
                  <a:cubicBezTo>
                    <a:pt x="201" y="29"/>
                    <a:pt x="199" y="32"/>
                    <a:pt x="197" y="31"/>
                  </a:cubicBezTo>
                  <a:cubicBezTo>
                    <a:pt x="195" y="30"/>
                    <a:pt x="189" y="30"/>
                    <a:pt x="188" y="32"/>
                  </a:cubicBezTo>
                  <a:cubicBezTo>
                    <a:pt x="187" y="35"/>
                    <a:pt x="192" y="40"/>
                    <a:pt x="193" y="42"/>
                  </a:cubicBezTo>
                  <a:cubicBezTo>
                    <a:pt x="193" y="43"/>
                    <a:pt x="190" y="46"/>
                    <a:pt x="188" y="44"/>
                  </a:cubicBezTo>
                  <a:cubicBezTo>
                    <a:pt x="186" y="42"/>
                    <a:pt x="183" y="49"/>
                    <a:pt x="179" y="45"/>
                  </a:cubicBezTo>
                  <a:cubicBezTo>
                    <a:pt x="175" y="40"/>
                    <a:pt x="169" y="44"/>
                    <a:pt x="169" y="47"/>
                  </a:cubicBezTo>
                  <a:cubicBezTo>
                    <a:pt x="168" y="50"/>
                    <a:pt x="168" y="62"/>
                    <a:pt x="173" y="67"/>
                  </a:cubicBezTo>
                  <a:cubicBezTo>
                    <a:pt x="178" y="71"/>
                    <a:pt x="177" y="74"/>
                    <a:pt x="180" y="76"/>
                  </a:cubicBezTo>
                  <a:cubicBezTo>
                    <a:pt x="183" y="78"/>
                    <a:pt x="202" y="79"/>
                    <a:pt x="204" y="79"/>
                  </a:cubicBezTo>
                  <a:cubicBezTo>
                    <a:pt x="207" y="78"/>
                    <a:pt x="201" y="72"/>
                    <a:pt x="202" y="68"/>
                  </a:cubicBezTo>
                  <a:cubicBezTo>
                    <a:pt x="202" y="64"/>
                    <a:pt x="206" y="66"/>
                    <a:pt x="208" y="63"/>
                  </a:cubicBezTo>
                  <a:cubicBezTo>
                    <a:pt x="210" y="60"/>
                    <a:pt x="217" y="54"/>
                    <a:pt x="217" y="54"/>
                  </a:cubicBezTo>
                  <a:close/>
                  <a:moveTo>
                    <a:pt x="222" y="79"/>
                  </a:moveTo>
                  <a:cubicBezTo>
                    <a:pt x="221" y="82"/>
                    <a:pt x="220" y="88"/>
                    <a:pt x="224" y="89"/>
                  </a:cubicBezTo>
                  <a:cubicBezTo>
                    <a:pt x="227" y="90"/>
                    <a:pt x="232" y="84"/>
                    <a:pt x="230" y="81"/>
                  </a:cubicBezTo>
                  <a:cubicBezTo>
                    <a:pt x="228" y="77"/>
                    <a:pt x="222" y="79"/>
                    <a:pt x="222" y="79"/>
                  </a:cubicBezTo>
                  <a:close/>
                  <a:moveTo>
                    <a:pt x="234" y="90"/>
                  </a:moveTo>
                  <a:cubicBezTo>
                    <a:pt x="234" y="90"/>
                    <a:pt x="237" y="95"/>
                    <a:pt x="235" y="98"/>
                  </a:cubicBezTo>
                  <a:cubicBezTo>
                    <a:pt x="233" y="100"/>
                    <a:pt x="235" y="107"/>
                    <a:pt x="237" y="103"/>
                  </a:cubicBezTo>
                  <a:cubicBezTo>
                    <a:pt x="239" y="100"/>
                    <a:pt x="244" y="98"/>
                    <a:pt x="246" y="98"/>
                  </a:cubicBezTo>
                  <a:cubicBezTo>
                    <a:pt x="248" y="98"/>
                    <a:pt x="262" y="91"/>
                    <a:pt x="261" y="86"/>
                  </a:cubicBezTo>
                  <a:cubicBezTo>
                    <a:pt x="261" y="82"/>
                    <a:pt x="258" y="81"/>
                    <a:pt x="250" y="80"/>
                  </a:cubicBezTo>
                  <a:cubicBezTo>
                    <a:pt x="243" y="79"/>
                    <a:pt x="239" y="80"/>
                    <a:pt x="236" y="82"/>
                  </a:cubicBezTo>
                  <a:cubicBezTo>
                    <a:pt x="234" y="83"/>
                    <a:pt x="234" y="90"/>
                    <a:pt x="234" y="90"/>
                  </a:cubicBezTo>
                  <a:close/>
                  <a:moveTo>
                    <a:pt x="15" y="190"/>
                  </a:moveTo>
                  <a:cubicBezTo>
                    <a:pt x="11" y="191"/>
                    <a:pt x="8" y="198"/>
                    <a:pt x="5" y="199"/>
                  </a:cubicBezTo>
                  <a:cubicBezTo>
                    <a:pt x="1" y="200"/>
                    <a:pt x="11" y="204"/>
                    <a:pt x="16" y="204"/>
                  </a:cubicBezTo>
                  <a:cubicBezTo>
                    <a:pt x="20" y="204"/>
                    <a:pt x="23" y="198"/>
                    <a:pt x="22" y="194"/>
                  </a:cubicBezTo>
                  <a:cubicBezTo>
                    <a:pt x="21" y="190"/>
                    <a:pt x="15" y="190"/>
                    <a:pt x="15" y="19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8" name="Р.Мордовия">
              <a:extLst>
                <a:ext uri="{FF2B5EF4-FFF2-40B4-BE49-F238E27FC236}">
                  <a16:creationId xmlns:a16="http://schemas.microsoft.com/office/drawing/2014/main" id="{8C84121A-6F51-0170-D18A-1190924AF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345" y="4375058"/>
              <a:ext cx="393328" cy="241399"/>
            </a:xfrm>
            <a:custGeom>
              <a:avLst/>
              <a:gdLst>
                <a:gd name="T0" fmla="*/ 0 w 154"/>
                <a:gd name="T1" fmla="*/ 33 h 106"/>
                <a:gd name="T2" fmla="*/ 4 w 154"/>
                <a:gd name="T3" fmla="*/ 33 h 106"/>
                <a:gd name="T4" fmla="*/ 15 w 154"/>
                <a:gd name="T5" fmla="*/ 25 h 106"/>
                <a:gd name="T6" fmla="*/ 15 w 154"/>
                <a:gd name="T7" fmla="*/ 19 h 106"/>
                <a:gd name="T8" fmla="*/ 23 w 154"/>
                <a:gd name="T9" fmla="*/ 19 h 106"/>
                <a:gd name="T10" fmla="*/ 31 w 154"/>
                <a:gd name="T11" fmla="*/ 6 h 106"/>
                <a:gd name="T12" fmla="*/ 48 w 154"/>
                <a:gd name="T13" fmla="*/ 4 h 106"/>
                <a:gd name="T14" fmla="*/ 48 w 154"/>
                <a:gd name="T15" fmla="*/ 0 h 106"/>
                <a:gd name="T16" fmla="*/ 56 w 154"/>
                <a:gd name="T17" fmla="*/ 4 h 106"/>
                <a:gd name="T18" fmla="*/ 71 w 154"/>
                <a:gd name="T19" fmla="*/ 4 h 106"/>
                <a:gd name="T20" fmla="*/ 71 w 154"/>
                <a:gd name="T21" fmla="*/ 14 h 106"/>
                <a:gd name="T22" fmla="*/ 81 w 154"/>
                <a:gd name="T23" fmla="*/ 23 h 106"/>
                <a:gd name="T24" fmla="*/ 81 w 154"/>
                <a:gd name="T25" fmla="*/ 37 h 106"/>
                <a:gd name="T26" fmla="*/ 92 w 154"/>
                <a:gd name="T27" fmla="*/ 48 h 106"/>
                <a:gd name="T28" fmla="*/ 92 w 154"/>
                <a:gd name="T29" fmla="*/ 56 h 106"/>
                <a:gd name="T30" fmla="*/ 104 w 154"/>
                <a:gd name="T31" fmla="*/ 56 h 106"/>
                <a:gd name="T32" fmla="*/ 115 w 154"/>
                <a:gd name="T33" fmla="*/ 50 h 106"/>
                <a:gd name="T34" fmla="*/ 127 w 154"/>
                <a:gd name="T35" fmla="*/ 52 h 106"/>
                <a:gd name="T36" fmla="*/ 131 w 154"/>
                <a:gd name="T37" fmla="*/ 44 h 106"/>
                <a:gd name="T38" fmla="*/ 144 w 154"/>
                <a:gd name="T39" fmla="*/ 46 h 106"/>
                <a:gd name="T40" fmla="*/ 144 w 154"/>
                <a:gd name="T41" fmla="*/ 58 h 106"/>
                <a:gd name="T42" fmla="*/ 154 w 154"/>
                <a:gd name="T43" fmla="*/ 62 h 106"/>
                <a:gd name="T44" fmla="*/ 154 w 154"/>
                <a:gd name="T45" fmla="*/ 75 h 106"/>
                <a:gd name="T46" fmla="*/ 150 w 154"/>
                <a:gd name="T47" fmla="*/ 77 h 106"/>
                <a:gd name="T48" fmla="*/ 152 w 154"/>
                <a:gd name="T49" fmla="*/ 87 h 106"/>
                <a:gd name="T50" fmla="*/ 146 w 154"/>
                <a:gd name="T51" fmla="*/ 92 h 106"/>
                <a:gd name="T52" fmla="*/ 148 w 154"/>
                <a:gd name="T53" fmla="*/ 104 h 106"/>
                <a:gd name="T54" fmla="*/ 127 w 154"/>
                <a:gd name="T55" fmla="*/ 106 h 106"/>
                <a:gd name="T56" fmla="*/ 115 w 154"/>
                <a:gd name="T57" fmla="*/ 96 h 106"/>
                <a:gd name="T58" fmla="*/ 104 w 154"/>
                <a:gd name="T59" fmla="*/ 106 h 106"/>
                <a:gd name="T60" fmla="*/ 96 w 154"/>
                <a:gd name="T61" fmla="*/ 104 h 106"/>
                <a:gd name="T62" fmla="*/ 83 w 154"/>
                <a:gd name="T63" fmla="*/ 92 h 106"/>
                <a:gd name="T64" fmla="*/ 69 w 154"/>
                <a:gd name="T65" fmla="*/ 89 h 106"/>
                <a:gd name="T66" fmla="*/ 61 w 154"/>
                <a:gd name="T67" fmla="*/ 92 h 106"/>
                <a:gd name="T68" fmla="*/ 48 w 154"/>
                <a:gd name="T69" fmla="*/ 79 h 106"/>
                <a:gd name="T70" fmla="*/ 48 w 154"/>
                <a:gd name="T71" fmla="*/ 62 h 106"/>
                <a:gd name="T72" fmla="*/ 38 w 154"/>
                <a:gd name="T73" fmla="*/ 54 h 106"/>
                <a:gd name="T74" fmla="*/ 23 w 154"/>
                <a:gd name="T75" fmla="*/ 52 h 106"/>
                <a:gd name="T76" fmla="*/ 13 w 154"/>
                <a:gd name="T77" fmla="*/ 44 h 106"/>
                <a:gd name="T78" fmla="*/ 4 w 154"/>
                <a:gd name="T79" fmla="*/ 44 h 106"/>
                <a:gd name="T80" fmla="*/ 0 w 154"/>
                <a:gd name="T81" fmla="*/ 3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06">
                  <a:moveTo>
                    <a:pt x="0" y="33"/>
                  </a:moveTo>
                  <a:lnTo>
                    <a:pt x="4" y="33"/>
                  </a:lnTo>
                  <a:lnTo>
                    <a:pt x="15" y="25"/>
                  </a:lnTo>
                  <a:lnTo>
                    <a:pt x="15" y="19"/>
                  </a:lnTo>
                  <a:lnTo>
                    <a:pt x="23" y="19"/>
                  </a:lnTo>
                  <a:lnTo>
                    <a:pt x="31" y="6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71" y="4"/>
                  </a:lnTo>
                  <a:lnTo>
                    <a:pt x="71" y="14"/>
                  </a:lnTo>
                  <a:lnTo>
                    <a:pt x="81" y="23"/>
                  </a:lnTo>
                  <a:lnTo>
                    <a:pt x="81" y="37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104" y="56"/>
                  </a:lnTo>
                  <a:lnTo>
                    <a:pt x="115" y="50"/>
                  </a:lnTo>
                  <a:lnTo>
                    <a:pt x="127" y="52"/>
                  </a:lnTo>
                  <a:lnTo>
                    <a:pt x="131" y="44"/>
                  </a:lnTo>
                  <a:lnTo>
                    <a:pt x="144" y="46"/>
                  </a:lnTo>
                  <a:lnTo>
                    <a:pt x="144" y="58"/>
                  </a:lnTo>
                  <a:lnTo>
                    <a:pt x="154" y="62"/>
                  </a:lnTo>
                  <a:lnTo>
                    <a:pt x="154" y="75"/>
                  </a:lnTo>
                  <a:lnTo>
                    <a:pt x="150" y="77"/>
                  </a:lnTo>
                  <a:lnTo>
                    <a:pt x="152" y="87"/>
                  </a:lnTo>
                  <a:lnTo>
                    <a:pt x="146" y="92"/>
                  </a:lnTo>
                  <a:lnTo>
                    <a:pt x="148" y="104"/>
                  </a:lnTo>
                  <a:lnTo>
                    <a:pt x="127" y="106"/>
                  </a:lnTo>
                  <a:lnTo>
                    <a:pt x="115" y="96"/>
                  </a:lnTo>
                  <a:lnTo>
                    <a:pt x="104" y="106"/>
                  </a:lnTo>
                  <a:lnTo>
                    <a:pt x="96" y="104"/>
                  </a:lnTo>
                  <a:lnTo>
                    <a:pt x="83" y="92"/>
                  </a:lnTo>
                  <a:lnTo>
                    <a:pt x="69" y="89"/>
                  </a:lnTo>
                  <a:lnTo>
                    <a:pt x="61" y="92"/>
                  </a:lnTo>
                  <a:lnTo>
                    <a:pt x="48" y="79"/>
                  </a:lnTo>
                  <a:lnTo>
                    <a:pt x="48" y="62"/>
                  </a:lnTo>
                  <a:lnTo>
                    <a:pt x="38" y="54"/>
                  </a:lnTo>
                  <a:lnTo>
                    <a:pt x="23" y="52"/>
                  </a:lnTo>
                  <a:lnTo>
                    <a:pt x="13" y="44"/>
                  </a:lnTo>
                  <a:lnTo>
                    <a:pt x="4" y="44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9" name="Р.Марий-Эл">
              <a:extLst>
                <a:ext uri="{FF2B5EF4-FFF2-40B4-BE49-F238E27FC236}">
                  <a16:creationId xmlns:a16="http://schemas.microsoft.com/office/drawing/2014/main" id="{7BCD986C-F22E-CC2F-F4B7-7635600ED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741" y="4293073"/>
              <a:ext cx="362679" cy="234566"/>
            </a:xfrm>
            <a:custGeom>
              <a:avLst/>
              <a:gdLst>
                <a:gd name="T0" fmla="*/ 55 w 142"/>
                <a:gd name="T1" fmla="*/ 13 h 103"/>
                <a:gd name="T2" fmla="*/ 71 w 142"/>
                <a:gd name="T3" fmla="*/ 34 h 103"/>
                <a:gd name="T4" fmla="*/ 86 w 142"/>
                <a:gd name="T5" fmla="*/ 28 h 103"/>
                <a:gd name="T6" fmla="*/ 92 w 142"/>
                <a:gd name="T7" fmla="*/ 34 h 103"/>
                <a:gd name="T8" fmla="*/ 101 w 142"/>
                <a:gd name="T9" fmla="*/ 23 h 103"/>
                <a:gd name="T10" fmla="*/ 113 w 142"/>
                <a:gd name="T11" fmla="*/ 36 h 103"/>
                <a:gd name="T12" fmla="*/ 126 w 142"/>
                <a:gd name="T13" fmla="*/ 36 h 103"/>
                <a:gd name="T14" fmla="*/ 128 w 142"/>
                <a:gd name="T15" fmla="*/ 53 h 103"/>
                <a:gd name="T16" fmla="*/ 142 w 142"/>
                <a:gd name="T17" fmla="*/ 57 h 103"/>
                <a:gd name="T18" fmla="*/ 140 w 142"/>
                <a:gd name="T19" fmla="*/ 80 h 103"/>
                <a:gd name="T20" fmla="*/ 140 w 142"/>
                <a:gd name="T21" fmla="*/ 94 h 103"/>
                <a:gd name="T22" fmla="*/ 130 w 142"/>
                <a:gd name="T23" fmla="*/ 96 h 103"/>
                <a:gd name="T24" fmla="*/ 126 w 142"/>
                <a:gd name="T25" fmla="*/ 88 h 103"/>
                <a:gd name="T26" fmla="*/ 107 w 142"/>
                <a:gd name="T27" fmla="*/ 88 h 103"/>
                <a:gd name="T28" fmla="*/ 98 w 142"/>
                <a:gd name="T29" fmla="*/ 82 h 103"/>
                <a:gd name="T30" fmla="*/ 88 w 142"/>
                <a:gd name="T31" fmla="*/ 90 h 103"/>
                <a:gd name="T32" fmla="*/ 69 w 142"/>
                <a:gd name="T33" fmla="*/ 98 h 103"/>
                <a:gd name="T34" fmla="*/ 55 w 142"/>
                <a:gd name="T35" fmla="*/ 103 h 103"/>
                <a:gd name="T36" fmla="*/ 59 w 142"/>
                <a:gd name="T37" fmla="*/ 100 h 103"/>
                <a:gd name="T38" fmla="*/ 50 w 142"/>
                <a:gd name="T39" fmla="*/ 86 h 103"/>
                <a:gd name="T40" fmla="*/ 59 w 142"/>
                <a:gd name="T41" fmla="*/ 73 h 103"/>
                <a:gd name="T42" fmla="*/ 48 w 142"/>
                <a:gd name="T43" fmla="*/ 63 h 103"/>
                <a:gd name="T44" fmla="*/ 48 w 142"/>
                <a:gd name="T45" fmla="*/ 53 h 103"/>
                <a:gd name="T46" fmla="*/ 21 w 142"/>
                <a:gd name="T47" fmla="*/ 53 h 103"/>
                <a:gd name="T48" fmla="*/ 9 w 142"/>
                <a:gd name="T49" fmla="*/ 46 h 103"/>
                <a:gd name="T50" fmla="*/ 0 w 142"/>
                <a:gd name="T51" fmla="*/ 34 h 103"/>
                <a:gd name="T52" fmla="*/ 11 w 142"/>
                <a:gd name="T53" fmla="*/ 23 h 103"/>
                <a:gd name="T54" fmla="*/ 9 w 142"/>
                <a:gd name="T55" fmla="*/ 11 h 103"/>
                <a:gd name="T56" fmla="*/ 28 w 142"/>
                <a:gd name="T57" fmla="*/ 11 h 103"/>
                <a:gd name="T58" fmla="*/ 34 w 142"/>
                <a:gd name="T59" fmla="*/ 0 h 103"/>
                <a:gd name="T60" fmla="*/ 55 w 142"/>
                <a:gd name="T61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2" h="103">
                  <a:moveTo>
                    <a:pt x="55" y="13"/>
                  </a:moveTo>
                  <a:lnTo>
                    <a:pt x="71" y="34"/>
                  </a:lnTo>
                  <a:lnTo>
                    <a:pt x="86" y="28"/>
                  </a:lnTo>
                  <a:lnTo>
                    <a:pt x="92" y="34"/>
                  </a:lnTo>
                  <a:lnTo>
                    <a:pt x="101" y="23"/>
                  </a:lnTo>
                  <a:lnTo>
                    <a:pt x="113" y="36"/>
                  </a:lnTo>
                  <a:lnTo>
                    <a:pt x="126" y="36"/>
                  </a:lnTo>
                  <a:lnTo>
                    <a:pt x="128" y="53"/>
                  </a:lnTo>
                  <a:lnTo>
                    <a:pt x="142" y="57"/>
                  </a:lnTo>
                  <a:lnTo>
                    <a:pt x="140" y="80"/>
                  </a:lnTo>
                  <a:lnTo>
                    <a:pt x="140" y="94"/>
                  </a:lnTo>
                  <a:lnTo>
                    <a:pt x="130" y="96"/>
                  </a:lnTo>
                  <a:lnTo>
                    <a:pt x="126" y="88"/>
                  </a:lnTo>
                  <a:lnTo>
                    <a:pt x="107" y="88"/>
                  </a:lnTo>
                  <a:lnTo>
                    <a:pt x="98" y="82"/>
                  </a:lnTo>
                  <a:lnTo>
                    <a:pt x="88" y="90"/>
                  </a:lnTo>
                  <a:lnTo>
                    <a:pt x="69" y="98"/>
                  </a:lnTo>
                  <a:lnTo>
                    <a:pt x="55" y="103"/>
                  </a:lnTo>
                  <a:lnTo>
                    <a:pt x="59" y="100"/>
                  </a:lnTo>
                  <a:lnTo>
                    <a:pt x="50" y="86"/>
                  </a:lnTo>
                  <a:lnTo>
                    <a:pt x="59" y="73"/>
                  </a:lnTo>
                  <a:lnTo>
                    <a:pt x="48" y="63"/>
                  </a:lnTo>
                  <a:lnTo>
                    <a:pt x="48" y="53"/>
                  </a:lnTo>
                  <a:lnTo>
                    <a:pt x="21" y="53"/>
                  </a:lnTo>
                  <a:lnTo>
                    <a:pt x="9" y="46"/>
                  </a:lnTo>
                  <a:lnTo>
                    <a:pt x="0" y="34"/>
                  </a:lnTo>
                  <a:lnTo>
                    <a:pt x="11" y="23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34" y="0"/>
                  </a:lnTo>
                  <a:lnTo>
                    <a:pt x="55" y="1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60" name="Р.Коми">
              <a:extLst>
                <a:ext uri="{FF2B5EF4-FFF2-40B4-BE49-F238E27FC236}">
                  <a16:creationId xmlns:a16="http://schemas.microsoft.com/office/drawing/2014/main" id="{D2637CDC-D03D-5995-683A-0B432DE27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110" y="3329757"/>
              <a:ext cx="1670365" cy="874501"/>
            </a:xfrm>
            <a:custGeom>
              <a:avLst/>
              <a:gdLst>
                <a:gd name="T0" fmla="*/ 639 w 654"/>
                <a:gd name="T1" fmla="*/ 84 h 384"/>
                <a:gd name="T2" fmla="*/ 650 w 654"/>
                <a:gd name="T3" fmla="*/ 115 h 384"/>
                <a:gd name="T4" fmla="*/ 608 w 654"/>
                <a:gd name="T5" fmla="*/ 136 h 384"/>
                <a:gd name="T6" fmla="*/ 533 w 654"/>
                <a:gd name="T7" fmla="*/ 169 h 384"/>
                <a:gd name="T8" fmla="*/ 468 w 654"/>
                <a:gd name="T9" fmla="*/ 215 h 384"/>
                <a:gd name="T10" fmla="*/ 446 w 654"/>
                <a:gd name="T11" fmla="*/ 205 h 384"/>
                <a:gd name="T12" fmla="*/ 400 w 654"/>
                <a:gd name="T13" fmla="*/ 261 h 384"/>
                <a:gd name="T14" fmla="*/ 373 w 654"/>
                <a:gd name="T15" fmla="*/ 307 h 384"/>
                <a:gd name="T16" fmla="*/ 368 w 654"/>
                <a:gd name="T17" fmla="*/ 340 h 384"/>
                <a:gd name="T18" fmla="*/ 345 w 654"/>
                <a:gd name="T19" fmla="*/ 373 h 384"/>
                <a:gd name="T20" fmla="*/ 275 w 654"/>
                <a:gd name="T21" fmla="*/ 361 h 384"/>
                <a:gd name="T22" fmla="*/ 241 w 654"/>
                <a:gd name="T23" fmla="*/ 363 h 384"/>
                <a:gd name="T24" fmla="*/ 212 w 654"/>
                <a:gd name="T25" fmla="*/ 361 h 384"/>
                <a:gd name="T26" fmla="*/ 170 w 654"/>
                <a:gd name="T27" fmla="*/ 355 h 384"/>
                <a:gd name="T28" fmla="*/ 150 w 654"/>
                <a:gd name="T29" fmla="*/ 325 h 384"/>
                <a:gd name="T30" fmla="*/ 135 w 654"/>
                <a:gd name="T31" fmla="*/ 334 h 384"/>
                <a:gd name="T32" fmla="*/ 118 w 654"/>
                <a:gd name="T33" fmla="*/ 344 h 384"/>
                <a:gd name="T34" fmla="*/ 95 w 654"/>
                <a:gd name="T35" fmla="*/ 359 h 384"/>
                <a:gd name="T36" fmla="*/ 72 w 654"/>
                <a:gd name="T37" fmla="*/ 353 h 384"/>
                <a:gd name="T38" fmla="*/ 39 w 654"/>
                <a:gd name="T39" fmla="*/ 348 h 384"/>
                <a:gd name="T40" fmla="*/ 14 w 654"/>
                <a:gd name="T41" fmla="*/ 375 h 384"/>
                <a:gd name="T42" fmla="*/ 10 w 654"/>
                <a:gd name="T43" fmla="*/ 342 h 384"/>
                <a:gd name="T44" fmla="*/ 8 w 654"/>
                <a:gd name="T45" fmla="*/ 313 h 384"/>
                <a:gd name="T46" fmla="*/ 27 w 654"/>
                <a:gd name="T47" fmla="*/ 284 h 384"/>
                <a:gd name="T48" fmla="*/ 31 w 654"/>
                <a:gd name="T49" fmla="*/ 267 h 384"/>
                <a:gd name="T50" fmla="*/ 85 w 654"/>
                <a:gd name="T51" fmla="*/ 244 h 384"/>
                <a:gd name="T52" fmla="*/ 116 w 654"/>
                <a:gd name="T53" fmla="*/ 178 h 384"/>
                <a:gd name="T54" fmla="*/ 77 w 654"/>
                <a:gd name="T55" fmla="*/ 192 h 384"/>
                <a:gd name="T56" fmla="*/ 64 w 654"/>
                <a:gd name="T57" fmla="*/ 163 h 384"/>
                <a:gd name="T58" fmla="*/ 89 w 654"/>
                <a:gd name="T59" fmla="*/ 134 h 384"/>
                <a:gd name="T60" fmla="*/ 95 w 654"/>
                <a:gd name="T61" fmla="*/ 109 h 384"/>
                <a:gd name="T62" fmla="*/ 83 w 654"/>
                <a:gd name="T63" fmla="*/ 55 h 384"/>
                <a:gd name="T64" fmla="*/ 122 w 654"/>
                <a:gd name="T65" fmla="*/ 73 h 384"/>
                <a:gd name="T66" fmla="*/ 173 w 654"/>
                <a:gd name="T67" fmla="*/ 94 h 384"/>
                <a:gd name="T68" fmla="*/ 208 w 654"/>
                <a:gd name="T69" fmla="*/ 80 h 384"/>
                <a:gd name="T70" fmla="*/ 214 w 654"/>
                <a:gd name="T71" fmla="*/ 25 h 384"/>
                <a:gd name="T72" fmla="*/ 308 w 654"/>
                <a:gd name="T73" fmla="*/ 0 h 384"/>
                <a:gd name="T74" fmla="*/ 364 w 654"/>
                <a:gd name="T75" fmla="*/ 21 h 384"/>
                <a:gd name="T76" fmla="*/ 425 w 654"/>
                <a:gd name="T77" fmla="*/ 65 h 384"/>
                <a:gd name="T78" fmla="*/ 518 w 654"/>
                <a:gd name="T79" fmla="*/ 102 h 384"/>
                <a:gd name="T80" fmla="*/ 579 w 654"/>
                <a:gd name="T81" fmla="*/ 77 h 384"/>
                <a:gd name="T82" fmla="*/ 621 w 654"/>
                <a:gd name="T83" fmla="*/ 6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4" h="384">
                  <a:moveTo>
                    <a:pt x="654" y="61"/>
                  </a:moveTo>
                  <a:lnTo>
                    <a:pt x="643" y="67"/>
                  </a:lnTo>
                  <a:lnTo>
                    <a:pt x="639" y="84"/>
                  </a:lnTo>
                  <a:lnTo>
                    <a:pt x="652" y="96"/>
                  </a:lnTo>
                  <a:lnTo>
                    <a:pt x="637" y="107"/>
                  </a:lnTo>
                  <a:lnTo>
                    <a:pt x="650" y="115"/>
                  </a:lnTo>
                  <a:lnTo>
                    <a:pt x="633" y="123"/>
                  </a:lnTo>
                  <a:lnTo>
                    <a:pt x="618" y="136"/>
                  </a:lnTo>
                  <a:lnTo>
                    <a:pt x="608" y="136"/>
                  </a:lnTo>
                  <a:lnTo>
                    <a:pt x="604" y="153"/>
                  </a:lnTo>
                  <a:lnTo>
                    <a:pt x="566" y="153"/>
                  </a:lnTo>
                  <a:lnTo>
                    <a:pt x="533" y="169"/>
                  </a:lnTo>
                  <a:lnTo>
                    <a:pt x="531" y="184"/>
                  </a:lnTo>
                  <a:lnTo>
                    <a:pt x="502" y="184"/>
                  </a:lnTo>
                  <a:lnTo>
                    <a:pt x="468" y="215"/>
                  </a:lnTo>
                  <a:lnTo>
                    <a:pt x="454" y="217"/>
                  </a:lnTo>
                  <a:lnTo>
                    <a:pt x="458" y="209"/>
                  </a:lnTo>
                  <a:lnTo>
                    <a:pt x="446" y="205"/>
                  </a:lnTo>
                  <a:lnTo>
                    <a:pt x="414" y="236"/>
                  </a:lnTo>
                  <a:lnTo>
                    <a:pt x="416" y="255"/>
                  </a:lnTo>
                  <a:lnTo>
                    <a:pt x="400" y="261"/>
                  </a:lnTo>
                  <a:lnTo>
                    <a:pt x="400" y="280"/>
                  </a:lnTo>
                  <a:lnTo>
                    <a:pt x="379" y="288"/>
                  </a:lnTo>
                  <a:lnTo>
                    <a:pt x="373" y="307"/>
                  </a:lnTo>
                  <a:lnTo>
                    <a:pt x="375" y="321"/>
                  </a:lnTo>
                  <a:lnTo>
                    <a:pt x="373" y="325"/>
                  </a:lnTo>
                  <a:lnTo>
                    <a:pt x="368" y="340"/>
                  </a:lnTo>
                  <a:lnTo>
                    <a:pt x="350" y="359"/>
                  </a:lnTo>
                  <a:lnTo>
                    <a:pt x="352" y="369"/>
                  </a:lnTo>
                  <a:lnTo>
                    <a:pt x="345" y="373"/>
                  </a:lnTo>
                  <a:lnTo>
                    <a:pt x="337" y="384"/>
                  </a:lnTo>
                  <a:lnTo>
                    <a:pt x="312" y="382"/>
                  </a:lnTo>
                  <a:lnTo>
                    <a:pt x="275" y="361"/>
                  </a:lnTo>
                  <a:lnTo>
                    <a:pt x="258" y="355"/>
                  </a:lnTo>
                  <a:lnTo>
                    <a:pt x="248" y="367"/>
                  </a:lnTo>
                  <a:lnTo>
                    <a:pt x="241" y="363"/>
                  </a:lnTo>
                  <a:lnTo>
                    <a:pt x="233" y="359"/>
                  </a:lnTo>
                  <a:lnTo>
                    <a:pt x="227" y="369"/>
                  </a:lnTo>
                  <a:lnTo>
                    <a:pt x="212" y="361"/>
                  </a:lnTo>
                  <a:lnTo>
                    <a:pt x="202" y="367"/>
                  </a:lnTo>
                  <a:lnTo>
                    <a:pt x="181" y="350"/>
                  </a:lnTo>
                  <a:lnTo>
                    <a:pt x="170" y="355"/>
                  </a:lnTo>
                  <a:lnTo>
                    <a:pt x="160" y="348"/>
                  </a:lnTo>
                  <a:lnTo>
                    <a:pt x="162" y="334"/>
                  </a:lnTo>
                  <a:lnTo>
                    <a:pt x="150" y="325"/>
                  </a:lnTo>
                  <a:lnTo>
                    <a:pt x="143" y="332"/>
                  </a:lnTo>
                  <a:lnTo>
                    <a:pt x="139" y="330"/>
                  </a:lnTo>
                  <a:lnTo>
                    <a:pt x="135" y="334"/>
                  </a:lnTo>
                  <a:lnTo>
                    <a:pt x="118" y="328"/>
                  </a:lnTo>
                  <a:lnTo>
                    <a:pt x="112" y="340"/>
                  </a:lnTo>
                  <a:lnTo>
                    <a:pt x="118" y="344"/>
                  </a:lnTo>
                  <a:lnTo>
                    <a:pt x="118" y="353"/>
                  </a:lnTo>
                  <a:lnTo>
                    <a:pt x="114" y="357"/>
                  </a:lnTo>
                  <a:lnTo>
                    <a:pt x="95" y="359"/>
                  </a:lnTo>
                  <a:lnTo>
                    <a:pt x="89" y="367"/>
                  </a:lnTo>
                  <a:lnTo>
                    <a:pt x="81" y="367"/>
                  </a:lnTo>
                  <a:lnTo>
                    <a:pt x="72" y="353"/>
                  </a:lnTo>
                  <a:lnTo>
                    <a:pt x="60" y="363"/>
                  </a:lnTo>
                  <a:lnTo>
                    <a:pt x="54" y="359"/>
                  </a:lnTo>
                  <a:lnTo>
                    <a:pt x="39" y="348"/>
                  </a:lnTo>
                  <a:lnTo>
                    <a:pt x="27" y="353"/>
                  </a:lnTo>
                  <a:lnTo>
                    <a:pt x="25" y="365"/>
                  </a:lnTo>
                  <a:lnTo>
                    <a:pt x="14" y="375"/>
                  </a:lnTo>
                  <a:lnTo>
                    <a:pt x="8" y="371"/>
                  </a:lnTo>
                  <a:lnTo>
                    <a:pt x="10" y="363"/>
                  </a:lnTo>
                  <a:lnTo>
                    <a:pt x="10" y="342"/>
                  </a:lnTo>
                  <a:lnTo>
                    <a:pt x="0" y="334"/>
                  </a:lnTo>
                  <a:lnTo>
                    <a:pt x="2" y="323"/>
                  </a:lnTo>
                  <a:lnTo>
                    <a:pt x="8" y="313"/>
                  </a:lnTo>
                  <a:lnTo>
                    <a:pt x="12" y="300"/>
                  </a:lnTo>
                  <a:lnTo>
                    <a:pt x="25" y="300"/>
                  </a:lnTo>
                  <a:lnTo>
                    <a:pt x="27" y="284"/>
                  </a:lnTo>
                  <a:lnTo>
                    <a:pt x="35" y="271"/>
                  </a:lnTo>
                  <a:lnTo>
                    <a:pt x="27" y="265"/>
                  </a:lnTo>
                  <a:lnTo>
                    <a:pt x="31" y="267"/>
                  </a:lnTo>
                  <a:lnTo>
                    <a:pt x="54" y="259"/>
                  </a:lnTo>
                  <a:lnTo>
                    <a:pt x="64" y="267"/>
                  </a:lnTo>
                  <a:lnTo>
                    <a:pt x="85" y="244"/>
                  </a:lnTo>
                  <a:lnTo>
                    <a:pt x="77" y="236"/>
                  </a:lnTo>
                  <a:lnTo>
                    <a:pt x="127" y="192"/>
                  </a:lnTo>
                  <a:lnTo>
                    <a:pt x="116" y="178"/>
                  </a:lnTo>
                  <a:lnTo>
                    <a:pt x="97" y="175"/>
                  </a:lnTo>
                  <a:lnTo>
                    <a:pt x="87" y="182"/>
                  </a:lnTo>
                  <a:lnTo>
                    <a:pt x="77" y="192"/>
                  </a:lnTo>
                  <a:lnTo>
                    <a:pt x="58" y="186"/>
                  </a:lnTo>
                  <a:lnTo>
                    <a:pt x="56" y="173"/>
                  </a:lnTo>
                  <a:lnTo>
                    <a:pt x="64" y="163"/>
                  </a:lnTo>
                  <a:lnTo>
                    <a:pt x="70" y="148"/>
                  </a:lnTo>
                  <a:lnTo>
                    <a:pt x="89" y="146"/>
                  </a:lnTo>
                  <a:lnTo>
                    <a:pt x="89" y="134"/>
                  </a:lnTo>
                  <a:lnTo>
                    <a:pt x="83" y="125"/>
                  </a:lnTo>
                  <a:lnTo>
                    <a:pt x="83" y="117"/>
                  </a:lnTo>
                  <a:lnTo>
                    <a:pt x="95" y="109"/>
                  </a:lnTo>
                  <a:lnTo>
                    <a:pt x="97" y="86"/>
                  </a:lnTo>
                  <a:lnTo>
                    <a:pt x="85" y="75"/>
                  </a:lnTo>
                  <a:lnTo>
                    <a:pt x="83" y="55"/>
                  </a:lnTo>
                  <a:lnTo>
                    <a:pt x="89" y="55"/>
                  </a:lnTo>
                  <a:lnTo>
                    <a:pt x="104" y="61"/>
                  </a:lnTo>
                  <a:lnTo>
                    <a:pt x="122" y="73"/>
                  </a:lnTo>
                  <a:lnTo>
                    <a:pt x="143" y="84"/>
                  </a:lnTo>
                  <a:lnTo>
                    <a:pt x="152" y="102"/>
                  </a:lnTo>
                  <a:lnTo>
                    <a:pt x="173" y="94"/>
                  </a:lnTo>
                  <a:lnTo>
                    <a:pt x="202" y="111"/>
                  </a:lnTo>
                  <a:lnTo>
                    <a:pt x="216" y="94"/>
                  </a:lnTo>
                  <a:lnTo>
                    <a:pt x="208" y="80"/>
                  </a:lnTo>
                  <a:lnTo>
                    <a:pt x="212" y="65"/>
                  </a:lnTo>
                  <a:lnTo>
                    <a:pt x="202" y="46"/>
                  </a:lnTo>
                  <a:lnTo>
                    <a:pt x="214" y="25"/>
                  </a:lnTo>
                  <a:lnTo>
                    <a:pt x="227" y="7"/>
                  </a:lnTo>
                  <a:lnTo>
                    <a:pt x="302" y="9"/>
                  </a:lnTo>
                  <a:lnTo>
                    <a:pt x="308" y="0"/>
                  </a:lnTo>
                  <a:lnTo>
                    <a:pt x="335" y="2"/>
                  </a:lnTo>
                  <a:lnTo>
                    <a:pt x="348" y="17"/>
                  </a:lnTo>
                  <a:lnTo>
                    <a:pt x="364" y="21"/>
                  </a:lnTo>
                  <a:lnTo>
                    <a:pt x="395" y="44"/>
                  </a:lnTo>
                  <a:lnTo>
                    <a:pt x="412" y="50"/>
                  </a:lnTo>
                  <a:lnTo>
                    <a:pt x="425" y="65"/>
                  </a:lnTo>
                  <a:lnTo>
                    <a:pt x="452" y="69"/>
                  </a:lnTo>
                  <a:lnTo>
                    <a:pt x="500" y="102"/>
                  </a:lnTo>
                  <a:lnTo>
                    <a:pt x="518" y="102"/>
                  </a:lnTo>
                  <a:lnTo>
                    <a:pt x="527" y="109"/>
                  </a:lnTo>
                  <a:lnTo>
                    <a:pt x="560" y="100"/>
                  </a:lnTo>
                  <a:lnTo>
                    <a:pt x="579" y="77"/>
                  </a:lnTo>
                  <a:lnTo>
                    <a:pt x="600" y="82"/>
                  </a:lnTo>
                  <a:lnTo>
                    <a:pt x="606" y="67"/>
                  </a:lnTo>
                  <a:lnTo>
                    <a:pt x="621" y="65"/>
                  </a:lnTo>
                  <a:lnTo>
                    <a:pt x="637" y="52"/>
                  </a:lnTo>
                  <a:lnTo>
                    <a:pt x="654" y="6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73" name="Р.Карелия">
              <a:extLst>
                <a:ext uri="{FF2B5EF4-FFF2-40B4-BE49-F238E27FC236}">
                  <a16:creationId xmlns:a16="http://schemas.microsoft.com/office/drawing/2014/main" id="{171FC450-F45E-F14F-6475-9642E4D54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549" y="2566846"/>
              <a:ext cx="824966" cy="867668"/>
            </a:xfrm>
            <a:custGeom>
              <a:avLst/>
              <a:gdLst>
                <a:gd name="T0" fmla="*/ 0 w 155"/>
                <a:gd name="T1" fmla="*/ 98 h 183"/>
                <a:gd name="T2" fmla="*/ 32 w 155"/>
                <a:gd name="T3" fmla="*/ 98 h 183"/>
                <a:gd name="T4" fmla="*/ 55 w 155"/>
                <a:gd name="T5" fmla="*/ 94 h 183"/>
                <a:gd name="T6" fmla="*/ 60 w 155"/>
                <a:gd name="T7" fmla="*/ 81 h 183"/>
                <a:gd name="T8" fmla="*/ 61 w 155"/>
                <a:gd name="T9" fmla="*/ 62 h 183"/>
                <a:gd name="T10" fmla="*/ 71 w 155"/>
                <a:gd name="T11" fmla="*/ 59 h 183"/>
                <a:gd name="T12" fmla="*/ 77 w 155"/>
                <a:gd name="T13" fmla="*/ 49 h 183"/>
                <a:gd name="T14" fmla="*/ 81 w 155"/>
                <a:gd name="T15" fmla="*/ 41 h 183"/>
                <a:gd name="T16" fmla="*/ 83 w 155"/>
                <a:gd name="T17" fmla="*/ 36 h 183"/>
                <a:gd name="T18" fmla="*/ 91 w 155"/>
                <a:gd name="T19" fmla="*/ 30 h 183"/>
                <a:gd name="T20" fmla="*/ 101 w 155"/>
                <a:gd name="T21" fmla="*/ 21 h 183"/>
                <a:gd name="T22" fmla="*/ 108 w 155"/>
                <a:gd name="T23" fmla="*/ 22 h 183"/>
                <a:gd name="T24" fmla="*/ 120 w 155"/>
                <a:gd name="T25" fmla="*/ 0 h 183"/>
                <a:gd name="T26" fmla="*/ 135 w 155"/>
                <a:gd name="T27" fmla="*/ 12 h 183"/>
                <a:gd name="T28" fmla="*/ 133 w 155"/>
                <a:gd name="T29" fmla="*/ 23 h 183"/>
                <a:gd name="T30" fmla="*/ 137 w 155"/>
                <a:gd name="T31" fmla="*/ 28 h 183"/>
                <a:gd name="T32" fmla="*/ 152 w 155"/>
                <a:gd name="T33" fmla="*/ 33 h 183"/>
                <a:gd name="T34" fmla="*/ 151 w 155"/>
                <a:gd name="T35" fmla="*/ 43 h 183"/>
                <a:gd name="T36" fmla="*/ 151 w 155"/>
                <a:gd name="T37" fmla="*/ 58 h 183"/>
                <a:gd name="T38" fmla="*/ 140 w 155"/>
                <a:gd name="T39" fmla="*/ 65 h 183"/>
                <a:gd name="T40" fmla="*/ 133 w 155"/>
                <a:gd name="T41" fmla="*/ 70 h 183"/>
                <a:gd name="T42" fmla="*/ 126 w 155"/>
                <a:gd name="T43" fmla="*/ 85 h 183"/>
                <a:gd name="T44" fmla="*/ 121 w 155"/>
                <a:gd name="T45" fmla="*/ 93 h 183"/>
                <a:gd name="T46" fmla="*/ 126 w 155"/>
                <a:gd name="T47" fmla="*/ 103 h 183"/>
                <a:gd name="T48" fmla="*/ 125 w 155"/>
                <a:gd name="T49" fmla="*/ 113 h 183"/>
                <a:gd name="T50" fmla="*/ 126 w 155"/>
                <a:gd name="T51" fmla="*/ 116 h 183"/>
                <a:gd name="T52" fmla="*/ 118 w 155"/>
                <a:gd name="T53" fmla="*/ 124 h 183"/>
                <a:gd name="T54" fmla="*/ 109 w 155"/>
                <a:gd name="T55" fmla="*/ 120 h 183"/>
                <a:gd name="T56" fmla="*/ 110 w 155"/>
                <a:gd name="T57" fmla="*/ 130 h 183"/>
                <a:gd name="T58" fmla="*/ 101 w 155"/>
                <a:gd name="T59" fmla="*/ 137 h 183"/>
                <a:gd name="T60" fmla="*/ 102 w 155"/>
                <a:gd name="T61" fmla="*/ 147 h 183"/>
                <a:gd name="T62" fmla="*/ 108 w 155"/>
                <a:gd name="T63" fmla="*/ 152 h 183"/>
                <a:gd name="T64" fmla="*/ 105 w 155"/>
                <a:gd name="T65" fmla="*/ 157 h 183"/>
                <a:gd name="T66" fmla="*/ 98 w 155"/>
                <a:gd name="T67" fmla="*/ 161 h 183"/>
                <a:gd name="T68" fmla="*/ 99 w 155"/>
                <a:gd name="T69" fmla="*/ 170 h 183"/>
                <a:gd name="T70" fmla="*/ 86 w 155"/>
                <a:gd name="T71" fmla="*/ 179 h 183"/>
                <a:gd name="T72" fmla="*/ 82 w 155"/>
                <a:gd name="T73" fmla="*/ 171 h 183"/>
                <a:gd name="T74" fmla="*/ 74 w 155"/>
                <a:gd name="T75" fmla="*/ 170 h 183"/>
                <a:gd name="T76" fmla="*/ 69 w 155"/>
                <a:gd name="T77" fmla="*/ 171 h 183"/>
                <a:gd name="T78" fmla="*/ 65 w 155"/>
                <a:gd name="T79" fmla="*/ 167 h 183"/>
                <a:gd name="T80" fmla="*/ 56 w 155"/>
                <a:gd name="T81" fmla="*/ 169 h 183"/>
                <a:gd name="T82" fmla="*/ 50 w 155"/>
                <a:gd name="T83" fmla="*/ 173 h 183"/>
                <a:gd name="T84" fmla="*/ 45 w 155"/>
                <a:gd name="T85" fmla="*/ 171 h 183"/>
                <a:gd name="T86" fmla="*/ 41 w 155"/>
                <a:gd name="T87" fmla="*/ 178 h 183"/>
                <a:gd name="T88" fmla="*/ 32 w 155"/>
                <a:gd name="T89" fmla="*/ 183 h 183"/>
                <a:gd name="T90" fmla="*/ 24 w 155"/>
                <a:gd name="T91" fmla="*/ 160 h 183"/>
                <a:gd name="T92" fmla="*/ 15 w 155"/>
                <a:gd name="T93" fmla="*/ 156 h 183"/>
                <a:gd name="T94" fmla="*/ 0 w 155"/>
                <a:gd name="T95" fmla="*/ 111 h 183"/>
                <a:gd name="T96" fmla="*/ 0 w 155"/>
                <a:gd name="T97" fmla="*/ 9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83">
                  <a:moveTo>
                    <a:pt x="0" y="98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43" y="98"/>
                    <a:pt x="47" y="95"/>
                    <a:pt x="55" y="94"/>
                  </a:cubicBezTo>
                  <a:cubicBezTo>
                    <a:pt x="62" y="93"/>
                    <a:pt x="59" y="87"/>
                    <a:pt x="60" y="81"/>
                  </a:cubicBezTo>
                  <a:cubicBezTo>
                    <a:pt x="60" y="75"/>
                    <a:pt x="61" y="65"/>
                    <a:pt x="61" y="62"/>
                  </a:cubicBezTo>
                  <a:cubicBezTo>
                    <a:pt x="61" y="59"/>
                    <a:pt x="65" y="59"/>
                    <a:pt x="71" y="59"/>
                  </a:cubicBezTo>
                  <a:cubicBezTo>
                    <a:pt x="77" y="59"/>
                    <a:pt x="77" y="56"/>
                    <a:pt x="77" y="49"/>
                  </a:cubicBezTo>
                  <a:cubicBezTo>
                    <a:pt x="77" y="42"/>
                    <a:pt x="77" y="41"/>
                    <a:pt x="81" y="41"/>
                  </a:cubicBezTo>
                  <a:cubicBezTo>
                    <a:pt x="86" y="42"/>
                    <a:pt x="84" y="40"/>
                    <a:pt x="83" y="36"/>
                  </a:cubicBezTo>
                  <a:cubicBezTo>
                    <a:pt x="83" y="33"/>
                    <a:pt x="89" y="33"/>
                    <a:pt x="91" y="30"/>
                  </a:cubicBezTo>
                  <a:cubicBezTo>
                    <a:pt x="93" y="28"/>
                    <a:pt x="98" y="23"/>
                    <a:pt x="101" y="21"/>
                  </a:cubicBezTo>
                  <a:cubicBezTo>
                    <a:pt x="105" y="19"/>
                    <a:pt x="106" y="23"/>
                    <a:pt x="108" y="22"/>
                  </a:cubicBezTo>
                  <a:cubicBezTo>
                    <a:pt x="109" y="21"/>
                    <a:pt x="115" y="9"/>
                    <a:pt x="120" y="0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0" y="37"/>
                    <a:pt x="148" y="35"/>
                    <a:pt x="151" y="43"/>
                  </a:cubicBezTo>
                  <a:cubicBezTo>
                    <a:pt x="155" y="53"/>
                    <a:pt x="153" y="56"/>
                    <a:pt x="151" y="58"/>
                  </a:cubicBezTo>
                  <a:cubicBezTo>
                    <a:pt x="149" y="60"/>
                    <a:pt x="143" y="65"/>
                    <a:pt x="140" y="65"/>
                  </a:cubicBezTo>
                  <a:cubicBezTo>
                    <a:pt x="137" y="66"/>
                    <a:pt x="133" y="66"/>
                    <a:pt x="133" y="70"/>
                  </a:cubicBezTo>
                  <a:cubicBezTo>
                    <a:pt x="133" y="75"/>
                    <a:pt x="130" y="83"/>
                    <a:pt x="126" y="85"/>
                  </a:cubicBezTo>
                  <a:cubicBezTo>
                    <a:pt x="121" y="87"/>
                    <a:pt x="122" y="91"/>
                    <a:pt x="121" y="93"/>
                  </a:cubicBezTo>
                  <a:cubicBezTo>
                    <a:pt x="120" y="95"/>
                    <a:pt x="126" y="98"/>
                    <a:pt x="126" y="103"/>
                  </a:cubicBezTo>
                  <a:cubicBezTo>
                    <a:pt x="126" y="107"/>
                    <a:pt x="124" y="109"/>
                    <a:pt x="125" y="113"/>
                  </a:cubicBezTo>
                  <a:cubicBezTo>
                    <a:pt x="125" y="115"/>
                    <a:pt x="125" y="115"/>
                    <a:pt x="126" y="116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65" y="167"/>
                    <a:pt x="65" y="167"/>
                    <a:pt x="65" y="167"/>
                  </a:cubicBezTo>
                  <a:cubicBezTo>
                    <a:pt x="56" y="169"/>
                    <a:pt x="56" y="169"/>
                    <a:pt x="56" y="169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1" y="178"/>
                    <a:pt x="41" y="178"/>
                    <a:pt x="41" y="178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9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2" name="Карачаево-Черкесская респ.">
              <a:extLst>
                <a:ext uri="{FF2B5EF4-FFF2-40B4-BE49-F238E27FC236}">
                  <a16:creationId xmlns:a16="http://schemas.microsoft.com/office/drawing/2014/main" id="{A4639A74-5AE8-F6BB-F6AD-87EFF9CC3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5" y="5422638"/>
              <a:ext cx="227313" cy="175355"/>
            </a:xfrm>
            <a:custGeom>
              <a:avLst/>
              <a:gdLst>
                <a:gd name="T0" fmla="*/ 34 w 43"/>
                <a:gd name="T1" fmla="*/ 2 h 37"/>
                <a:gd name="T2" fmla="*/ 36 w 43"/>
                <a:gd name="T3" fmla="*/ 3 h 37"/>
                <a:gd name="T4" fmla="*/ 37 w 43"/>
                <a:gd name="T5" fmla="*/ 6 h 37"/>
                <a:gd name="T6" fmla="*/ 39 w 43"/>
                <a:gd name="T7" fmla="*/ 11 h 37"/>
                <a:gd name="T8" fmla="*/ 43 w 43"/>
                <a:gd name="T9" fmla="*/ 17 h 37"/>
                <a:gd name="T10" fmla="*/ 37 w 43"/>
                <a:gd name="T11" fmla="*/ 19 h 37"/>
                <a:gd name="T12" fmla="*/ 37 w 43"/>
                <a:gd name="T13" fmla="*/ 22 h 37"/>
                <a:gd name="T14" fmla="*/ 40 w 43"/>
                <a:gd name="T15" fmla="*/ 26 h 37"/>
                <a:gd name="T16" fmla="*/ 39 w 43"/>
                <a:gd name="T17" fmla="*/ 30 h 37"/>
                <a:gd name="T18" fmla="*/ 38 w 43"/>
                <a:gd name="T19" fmla="*/ 32 h 37"/>
                <a:gd name="T20" fmla="*/ 37 w 43"/>
                <a:gd name="T21" fmla="*/ 32 h 37"/>
                <a:gd name="T22" fmla="*/ 29 w 43"/>
                <a:gd name="T23" fmla="*/ 35 h 37"/>
                <a:gd name="T24" fmla="*/ 24 w 43"/>
                <a:gd name="T25" fmla="*/ 37 h 37"/>
                <a:gd name="T26" fmla="*/ 24 w 43"/>
                <a:gd name="T27" fmla="*/ 37 h 37"/>
                <a:gd name="T28" fmla="*/ 14 w 43"/>
                <a:gd name="T29" fmla="*/ 31 h 37"/>
                <a:gd name="T30" fmla="*/ 5 w 43"/>
                <a:gd name="T31" fmla="*/ 15 h 37"/>
                <a:gd name="T32" fmla="*/ 0 w 43"/>
                <a:gd name="T33" fmla="*/ 8 h 37"/>
                <a:gd name="T34" fmla="*/ 2 w 43"/>
                <a:gd name="T35" fmla="*/ 7 h 37"/>
                <a:gd name="T36" fmla="*/ 8 w 43"/>
                <a:gd name="T37" fmla="*/ 4 h 37"/>
                <a:gd name="T38" fmla="*/ 15 w 43"/>
                <a:gd name="T39" fmla="*/ 0 h 37"/>
                <a:gd name="T40" fmla="*/ 20 w 43"/>
                <a:gd name="T41" fmla="*/ 6 h 37"/>
                <a:gd name="T42" fmla="*/ 28 w 43"/>
                <a:gd name="T43" fmla="*/ 8 h 37"/>
                <a:gd name="T44" fmla="*/ 33 w 43"/>
                <a:gd name="T45" fmla="*/ 3 h 37"/>
                <a:gd name="T46" fmla="*/ 34 w 43"/>
                <a:gd name="T4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37">
                  <a:moveTo>
                    <a:pt x="34" y="2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37" y="18"/>
                    <a:pt x="37" y="19"/>
                  </a:cubicBezTo>
                  <a:cubicBezTo>
                    <a:pt x="36" y="20"/>
                    <a:pt x="37" y="22"/>
                    <a:pt x="37" y="22"/>
                  </a:cubicBezTo>
                  <a:cubicBezTo>
                    <a:pt x="37" y="22"/>
                    <a:pt x="40" y="26"/>
                    <a:pt x="40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7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1" y="34"/>
                    <a:pt x="17" y="34"/>
                    <a:pt x="14" y="31"/>
                  </a:cubicBezTo>
                  <a:cubicBezTo>
                    <a:pt x="11" y="28"/>
                    <a:pt x="7" y="22"/>
                    <a:pt x="5" y="15"/>
                  </a:cubicBezTo>
                  <a:cubicBezTo>
                    <a:pt x="4" y="12"/>
                    <a:pt x="2" y="10"/>
                    <a:pt x="0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3" y="5"/>
                    <a:pt x="7" y="4"/>
                    <a:pt x="8" y="4"/>
                  </a:cubicBezTo>
                  <a:cubicBezTo>
                    <a:pt x="9" y="3"/>
                    <a:pt x="13" y="1"/>
                    <a:pt x="15" y="0"/>
                  </a:cubicBezTo>
                  <a:cubicBezTo>
                    <a:pt x="17" y="0"/>
                    <a:pt x="19" y="5"/>
                    <a:pt x="20" y="6"/>
                  </a:cubicBezTo>
                  <a:cubicBezTo>
                    <a:pt x="21" y="8"/>
                    <a:pt x="26" y="8"/>
                    <a:pt x="28" y="8"/>
                  </a:cubicBezTo>
                  <a:cubicBezTo>
                    <a:pt x="29" y="8"/>
                    <a:pt x="32" y="6"/>
                    <a:pt x="33" y="3"/>
                  </a:cubicBezTo>
                  <a:cubicBezTo>
                    <a:pt x="34" y="3"/>
                    <a:pt x="34" y="2"/>
                    <a:pt x="34" y="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4" name="Р.Калмыкия">
              <a:extLst>
                <a:ext uri="{FF2B5EF4-FFF2-40B4-BE49-F238E27FC236}">
                  <a16:creationId xmlns:a16="http://schemas.microsoft.com/office/drawing/2014/main" id="{3F69FC35-7954-C52C-4FFB-CB79500A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163" y="5172131"/>
              <a:ext cx="589991" cy="535176"/>
            </a:xfrm>
            <a:custGeom>
              <a:avLst/>
              <a:gdLst>
                <a:gd name="T0" fmla="*/ 86 w 111"/>
                <a:gd name="T1" fmla="*/ 105 h 113"/>
                <a:gd name="T2" fmla="*/ 63 w 111"/>
                <a:gd name="T3" fmla="*/ 113 h 113"/>
                <a:gd name="T4" fmla="*/ 61 w 111"/>
                <a:gd name="T5" fmla="*/ 104 h 113"/>
                <a:gd name="T6" fmla="*/ 49 w 111"/>
                <a:gd name="T7" fmla="*/ 86 h 113"/>
                <a:gd name="T8" fmla="*/ 42 w 111"/>
                <a:gd name="T9" fmla="*/ 70 h 113"/>
                <a:gd name="T10" fmla="*/ 35 w 111"/>
                <a:gd name="T11" fmla="*/ 49 h 113"/>
                <a:gd name="T12" fmla="*/ 24 w 111"/>
                <a:gd name="T13" fmla="*/ 32 h 113"/>
                <a:gd name="T14" fmla="*/ 9 w 111"/>
                <a:gd name="T15" fmla="*/ 25 h 113"/>
                <a:gd name="T16" fmla="*/ 0 w 111"/>
                <a:gd name="T17" fmla="*/ 18 h 113"/>
                <a:gd name="T18" fmla="*/ 10 w 111"/>
                <a:gd name="T19" fmla="*/ 17 h 113"/>
                <a:gd name="T20" fmla="*/ 22 w 111"/>
                <a:gd name="T21" fmla="*/ 13 h 113"/>
                <a:gd name="T22" fmla="*/ 30 w 111"/>
                <a:gd name="T23" fmla="*/ 24 h 113"/>
                <a:gd name="T24" fmla="*/ 43 w 111"/>
                <a:gd name="T25" fmla="*/ 38 h 113"/>
                <a:gd name="T26" fmla="*/ 55 w 111"/>
                <a:gd name="T27" fmla="*/ 31 h 113"/>
                <a:gd name="T28" fmla="*/ 69 w 111"/>
                <a:gd name="T29" fmla="*/ 18 h 113"/>
                <a:gd name="T30" fmla="*/ 60 w 111"/>
                <a:gd name="T31" fmla="*/ 16 h 113"/>
                <a:gd name="T32" fmla="*/ 64 w 111"/>
                <a:gd name="T33" fmla="*/ 5 h 113"/>
                <a:gd name="T34" fmla="*/ 75 w 111"/>
                <a:gd name="T35" fmla="*/ 7 h 113"/>
                <a:gd name="T36" fmla="*/ 81 w 111"/>
                <a:gd name="T37" fmla="*/ 5 h 113"/>
                <a:gd name="T38" fmla="*/ 86 w 111"/>
                <a:gd name="T39" fmla="*/ 1 h 113"/>
                <a:gd name="T40" fmla="*/ 91 w 111"/>
                <a:gd name="T41" fmla="*/ 11 h 113"/>
                <a:gd name="T42" fmla="*/ 99 w 111"/>
                <a:gd name="T43" fmla="*/ 21 h 113"/>
                <a:gd name="T44" fmla="*/ 99 w 111"/>
                <a:gd name="T45" fmla="*/ 30 h 113"/>
                <a:gd name="T46" fmla="*/ 104 w 111"/>
                <a:gd name="T47" fmla="*/ 45 h 113"/>
                <a:gd name="T48" fmla="*/ 110 w 111"/>
                <a:gd name="T49" fmla="*/ 50 h 113"/>
                <a:gd name="T50" fmla="*/ 105 w 111"/>
                <a:gd name="T51" fmla="*/ 59 h 113"/>
                <a:gd name="T52" fmla="*/ 104 w 111"/>
                <a:gd name="T53" fmla="*/ 64 h 113"/>
                <a:gd name="T54" fmla="*/ 104 w 111"/>
                <a:gd name="T55" fmla="*/ 70 h 113"/>
                <a:gd name="T56" fmla="*/ 97 w 111"/>
                <a:gd name="T57" fmla="*/ 73 h 113"/>
                <a:gd name="T58" fmla="*/ 89 w 111"/>
                <a:gd name="T59" fmla="*/ 72 h 113"/>
                <a:gd name="T60" fmla="*/ 91 w 111"/>
                <a:gd name="T61" fmla="*/ 82 h 113"/>
                <a:gd name="T62" fmla="*/ 92 w 111"/>
                <a:gd name="T63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" h="113">
                  <a:moveTo>
                    <a:pt x="92" y="99"/>
                  </a:moveTo>
                  <a:cubicBezTo>
                    <a:pt x="88" y="100"/>
                    <a:pt x="86" y="105"/>
                    <a:pt x="86" y="105"/>
                  </a:cubicBezTo>
                  <a:cubicBezTo>
                    <a:pt x="79" y="106"/>
                    <a:pt x="74" y="110"/>
                    <a:pt x="68" y="111"/>
                  </a:cubicBezTo>
                  <a:cubicBezTo>
                    <a:pt x="66" y="112"/>
                    <a:pt x="64" y="112"/>
                    <a:pt x="63" y="113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88"/>
                    <a:pt x="49" y="86"/>
                  </a:cubicBezTo>
                  <a:cubicBezTo>
                    <a:pt x="49" y="85"/>
                    <a:pt x="47" y="82"/>
                    <a:pt x="47" y="79"/>
                  </a:cubicBezTo>
                  <a:cubicBezTo>
                    <a:pt x="47" y="76"/>
                    <a:pt x="43" y="75"/>
                    <a:pt x="42" y="70"/>
                  </a:cubicBezTo>
                  <a:cubicBezTo>
                    <a:pt x="41" y="65"/>
                    <a:pt x="34" y="63"/>
                    <a:pt x="34" y="59"/>
                  </a:cubicBezTo>
                  <a:cubicBezTo>
                    <a:pt x="35" y="56"/>
                    <a:pt x="38" y="52"/>
                    <a:pt x="35" y="49"/>
                  </a:cubicBezTo>
                  <a:cubicBezTo>
                    <a:pt x="32" y="45"/>
                    <a:pt x="31" y="48"/>
                    <a:pt x="29" y="42"/>
                  </a:cubicBezTo>
                  <a:cubicBezTo>
                    <a:pt x="27" y="36"/>
                    <a:pt x="27" y="34"/>
                    <a:pt x="24" y="32"/>
                  </a:cubicBezTo>
                  <a:cubicBezTo>
                    <a:pt x="22" y="31"/>
                    <a:pt x="18" y="33"/>
                    <a:pt x="15" y="31"/>
                  </a:cubicBezTo>
                  <a:cubicBezTo>
                    <a:pt x="13" y="28"/>
                    <a:pt x="12" y="25"/>
                    <a:pt x="9" y="25"/>
                  </a:cubicBezTo>
                  <a:cubicBezTo>
                    <a:pt x="6" y="26"/>
                    <a:pt x="5" y="27"/>
                    <a:pt x="3" y="22"/>
                  </a:cubicBezTo>
                  <a:cubicBezTo>
                    <a:pt x="2" y="21"/>
                    <a:pt x="1" y="19"/>
                    <a:pt x="0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7" y="16"/>
                    <a:pt x="10" y="17"/>
                  </a:cubicBezTo>
                  <a:cubicBezTo>
                    <a:pt x="13" y="17"/>
                    <a:pt x="17" y="18"/>
                    <a:pt x="17" y="15"/>
                  </a:cubicBezTo>
                  <a:cubicBezTo>
                    <a:pt x="17" y="13"/>
                    <a:pt x="22" y="10"/>
                    <a:pt x="22" y="13"/>
                  </a:cubicBezTo>
                  <a:cubicBezTo>
                    <a:pt x="22" y="16"/>
                    <a:pt x="22" y="20"/>
                    <a:pt x="23" y="21"/>
                  </a:cubicBezTo>
                  <a:cubicBezTo>
                    <a:pt x="23" y="22"/>
                    <a:pt x="30" y="21"/>
                    <a:pt x="30" y="24"/>
                  </a:cubicBezTo>
                  <a:cubicBezTo>
                    <a:pt x="31" y="27"/>
                    <a:pt x="31" y="34"/>
                    <a:pt x="34" y="36"/>
                  </a:cubicBezTo>
                  <a:cubicBezTo>
                    <a:pt x="37" y="39"/>
                    <a:pt x="39" y="39"/>
                    <a:pt x="43" y="38"/>
                  </a:cubicBezTo>
                  <a:cubicBezTo>
                    <a:pt x="46" y="37"/>
                    <a:pt x="47" y="35"/>
                    <a:pt x="48" y="33"/>
                  </a:cubicBezTo>
                  <a:cubicBezTo>
                    <a:pt x="49" y="31"/>
                    <a:pt x="49" y="30"/>
                    <a:pt x="55" y="31"/>
                  </a:cubicBezTo>
                  <a:cubicBezTo>
                    <a:pt x="61" y="33"/>
                    <a:pt x="62" y="29"/>
                    <a:pt x="65" y="26"/>
                  </a:cubicBezTo>
                  <a:cubicBezTo>
                    <a:pt x="68" y="23"/>
                    <a:pt x="69" y="20"/>
                    <a:pt x="69" y="18"/>
                  </a:cubicBezTo>
                  <a:cubicBezTo>
                    <a:pt x="69" y="15"/>
                    <a:pt x="67" y="16"/>
                    <a:pt x="64" y="17"/>
                  </a:cubicBezTo>
                  <a:cubicBezTo>
                    <a:pt x="61" y="18"/>
                    <a:pt x="59" y="18"/>
                    <a:pt x="60" y="16"/>
                  </a:cubicBezTo>
                  <a:cubicBezTo>
                    <a:pt x="60" y="14"/>
                    <a:pt x="60" y="11"/>
                    <a:pt x="59" y="10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6"/>
                    <a:pt x="92" y="86"/>
                    <a:pt x="92" y="86"/>
                  </a:cubicBezTo>
                  <a:lnTo>
                    <a:pt x="92" y="9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5" name="Кабардино-Балкарская респ.">
              <a:extLst>
                <a:ext uri="{FF2B5EF4-FFF2-40B4-BE49-F238E27FC236}">
                  <a16:creationId xmlns:a16="http://schemas.microsoft.com/office/drawing/2014/main" id="{D4DBD89B-7083-05CE-F683-F7FB52E02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499" y="5575221"/>
              <a:ext cx="227313" cy="143474"/>
            </a:xfrm>
            <a:custGeom>
              <a:avLst/>
              <a:gdLst>
                <a:gd name="T0" fmla="*/ 0 w 43"/>
                <a:gd name="T1" fmla="*/ 5 h 30"/>
                <a:gd name="T2" fmla="*/ 5 w 43"/>
                <a:gd name="T3" fmla="*/ 3 h 30"/>
                <a:gd name="T4" fmla="*/ 13 w 43"/>
                <a:gd name="T5" fmla="*/ 0 h 30"/>
                <a:gd name="T6" fmla="*/ 16 w 43"/>
                <a:gd name="T7" fmla="*/ 0 h 30"/>
                <a:gd name="T8" fmla="*/ 22 w 43"/>
                <a:gd name="T9" fmla="*/ 1 h 30"/>
                <a:gd name="T10" fmla="*/ 26 w 43"/>
                <a:gd name="T11" fmla="*/ 3 h 30"/>
                <a:gd name="T12" fmla="*/ 32 w 43"/>
                <a:gd name="T13" fmla="*/ 12 h 30"/>
                <a:gd name="T14" fmla="*/ 37 w 43"/>
                <a:gd name="T15" fmla="*/ 11 h 30"/>
                <a:gd name="T16" fmla="*/ 43 w 43"/>
                <a:gd name="T17" fmla="*/ 15 h 30"/>
                <a:gd name="T18" fmla="*/ 43 w 43"/>
                <a:gd name="T19" fmla="*/ 19 h 30"/>
                <a:gd name="T20" fmla="*/ 43 w 43"/>
                <a:gd name="T21" fmla="*/ 20 h 30"/>
                <a:gd name="T22" fmla="*/ 42 w 43"/>
                <a:gd name="T23" fmla="*/ 20 h 30"/>
                <a:gd name="T24" fmla="*/ 38 w 43"/>
                <a:gd name="T25" fmla="*/ 21 h 30"/>
                <a:gd name="T26" fmla="*/ 38 w 43"/>
                <a:gd name="T27" fmla="*/ 27 h 30"/>
                <a:gd name="T28" fmla="*/ 35 w 43"/>
                <a:gd name="T29" fmla="*/ 27 h 30"/>
                <a:gd name="T30" fmla="*/ 29 w 43"/>
                <a:gd name="T31" fmla="*/ 30 h 30"/>
                <a:gd name="T32" fmla="*/ 26 w 43"/>
                <a:gd name="T33" fmla="*/ 28 h 30"/>
                <a:gd name="T34" fmla="*/ 20 w 43"/>
                <a:gd name="T35" fmla="*/ 27 h 30"/>
                <a:gd name="T36" fmla="*/ 12 w 43"/>
                <a:gd name="T37" fmla="*/ 29 h 30"/>
                <a:gd name="T38" fmla="*/ 11 w 43"/>
                <a:gd name="T39" fmla="*/ 26 h 30"/>
                <a:gd name="T40" fmla="*/ 10 w 43"/>
                <a:gd name="T41" fmla="*/ 18 h 30"/>
                <a:gd name="T42" fmla="*/ 0 w 43"/>
                <a:gd name="T4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0">
                  <a:moveTo>
                    <a:pt x="0" y="5"/>
                  </a:moveTo>
                  <a:cubicBezTo>
                    <a:pt x="3" y="4"/>
                    <a:pt x="5" y="3"/>
                    <a:pt x="5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8" y="23"/>
                    <a:pt x="8" y="22"/>
                    <a:pt x="10" y="18"/>
                  </a:cubicBezTo>
                  <a:cubicBezTo>
                    <a:pt x="11" y="13"/>
                    <a:pt x="2" y="9"/>
                    <a:pt x="0" y="5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94" name="Р.Ингушетия">
              <a:extLst>
                <a:ext uri="{FF2B5EF4-FFF2-40B4-BE49-F238E27FC236}">
                  <a16:creationId xmlns:a16="http://schemas.microsoft.com/office/drawing/2014/main" id="{1C981444-53F7-65CE-4922-7301F2CD2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068" y="5723248"/>
              <a:ext cx="102163" cy="145751"/>
            </a:xfrm>
            <a:custGeom>
              <a:avLst/>
              <a:gdLst>
                <a:gd name="T0" fmla="*/ 12 w 19"/>
                <a:gd name="T1" fmla="*/ 2 h 31"/>
                <a:gd name="T2" fmla="*/ 7 w 19"/>
                <a:gd name="T3" fmla="*/ 0 h 31"/>
                <a:gd name="T4" fmla="*/ 5 w 19"/>
                <a:gd name="T5" fmla="*/ 6 h 31"/>
                <a:gd name="T6" fmla="*/ 5 w 19"/>
                <a:gd name="T7" fmla="*/ 13 h 31"/>
                <a:gd name="T8" fmla="*/ 3 w 19"/>
                <a:gd name="T9" fmla="*/ 17 h 31"/>
                <a:gd name="T10" fmla="*/ 0 w 19"/>
                <a:gd name="T11" fmla="*/ 19 h 31"/>
                <a:gd name="T12" fmla="*/ 1 w 19"/>
                <a:gd name="T13" fmla="*/ 20 h 31"/>
                <a:gd name="T14" fmla="*/ 5 w 19"/>
                <a:gd name="T15" fmla="*/ 31 h 31"/>
                <a:gd name="T16" fmla="*/ 14 w 19"/>
                <a:gd name="T17" fmla="*/ 24 h 31"/>
                <a:gd name="T18" fmla="*/ 19 w 19"/>
                <a:gd name="T19" fmla="*/ 10 h 31"/>
                <a:gd name="T20" fmla="*/ 12 w 19"/>
                <a:gd name="T2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1">
                  <a:moveTo>
                    <a:pt x="12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5" y="5"/>
                    <a:pt x="5" y="6"/>
                  </a:cubicBezTo>
                  <a:cubicBezTo>
                    <a:pt x="5" y="7"/>
                    <a:pt x="5" y="13"/>
                    <a:pt x="5" y="13"/>
                  </a:cubicBezTo>
                  <a:cubicBezTo>
                    <a:pt x="5" y="13"/>
                    <a:pt x="4" y="17"/>
                    <a:pt x="3" y="17"/>
                  </a:cubicBezTo>
                  <a:cubicBezTo>
                    <a:pt x="3" y="17"/>
                    <a:pt x="1" y="18"/>
                    <a:pt x="0" y="19"/>
                  </a:cubicBezTo>
                  <a:cubicBezTo>
                    <a:pt x="0" y="19"/>
                    <a:pt x="1" y="20"/>
                    <a:pt x="1" y="20"/>
                  </a:cubicBezTo>
                  <a:cubicBezTo>
                    <a:pt x="2" y="22"/>
                    <a:pt x="4" y="26"/>
                    <a:pt x="5" y="31"/>
                  </a:cubicBezTo>
                  <a:cubicBezTo>
                    <a:pt x="9" y="29"/>
                    <a:pt x="13" y="26"/>
                    <a:pt x="14" y="24"/>
                  </a:cubicBezTo>
                  <a:cubicBezTo>
                    <a:pt x="15" y="19"/>
                    <a:pt x="19" y="10"/>
                    <a:pt x="19" y="10"/>
                  </a:cubicBezTo>
                  <a:cubicBezTo>
                    <a:pt x="19" y="10"/>
                    <a:pt x="13" y="4"/>
                    <a:pt x="12" y="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95" name="Р.Дагестан">
              <a:extLst>
                <a:ext uri="{FF2B5EF4-FFF2-40B4-BE49-F238E27FC236}">
                  <a16:creationId xmlns:a16="http://schemas.microsoft.com/office/drawing/2014/main" id="{70B9D132-5F8B-76C6-E40A-2FADAA8D3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270" y="5627600"/>
              <a:ext cx="334584" cy="560227"/>
            </a:xfrm>
            <a:custGeom>
              <a:avLst/>
              <a:gdLst>
                <a:gd name="T0" fmla="*/ 0 w 63"/>
                <a:gd name="T1" fmla="*/ 65 h 118"/>
                <a:gd name="T2" fmla="*/ 7 w 63"/>
                <a:gd name="T3" fmla="*/ 61 h 118"/>
                <a:gd name="T4" fmla="*/ 17 w 63"/>
                <a:gd name="T5" fmla="*/ 58 h 118"/>
                <a:gd name="T6" fmla="*/ 21 w 63"/>
                <a:gd name="T7" fmla="*/ 55 h 118"/>
                <a:gd name="T8" fmla="*/ 26 w 63"/>
                <a:gd name="T9" fmla="*/ 60 h 118"/>
                <a:gd name="T10" fmla="*/ 29 w 63"/>
                <a:gd name="T11" fmla="*/ 50 h 118"/>
                <a:gd name="T12" fmla="*/ 44 w 63"/>
                <a:gd name="T13" fmla="*/ 40 h 118"/>
                <a:gd name="T14" fmla="*/ 44 w 63"/>
                <a:gd name="T15" fmla="*/ 31 h 118"/>
                <a:gd name="T16" fmla="*/ 37 w 63"/>
                <a:gd name="T17" fmla="*/ 31 h 118"/>
                <a:gd name="T18" fmla="*/ 34 w 63"/>
                <a:gd name="T19" fmla="*/ 27 h 118"/>
                <a:gd name="T20" fmla="*/ 28 w 63"/>
                <a:gd name="T21" fmla="*/ 21 h 118"/>
                <a:gd name="T22" fmla="*/ 29 w 63"/>
                <a:gd name="T23" fmla="*/ 17 h 118"/>
                <a:gd name="T24" fmla="*/ 28 w 63"/>
                <a:gd name="T25" fmla="*/ 11 h 118"/>
                <a:gd name="T26" fmla="*/ 33 w 63"/>
                <a:gd name="T27" fmla="*/ 10 h 118"/>
                <a:gd name="T28" fmla="*/ 35 w 63"/>
                <a:gd name="T29" fmla="*/ 3 h 118"/>
                <a:gd name="T30" fmla="*/ 43 w 63"/>
                <a:gd name="T31" fmla="*/ 4 h 118"/>
                <a:gd name="T32" fmla="*/ 49 w 63"/>
                <a:gd name="T33" fmla="*/ 0 h 118"/>
                <a:gd name="T34" fmla="*/ 60 w 63"/>
                <a:gd name="T35" fmla="*/ 8 h 118"/>
                <a:gd name="T36" fmla="*/ 61 w 63"/>
                <a:gd name="T37" fmla="*/ 14 h 118"/>
                <a:gd name="T38" fmla="*/ 62 w 63"/>
                <a:gd name="T39" fmla="*/ 17 h 118"/>
                <a:gd name="T40" fmla="*/ 60 w 63"/>
                <a:gd name="T41" fmla="*/ 24 h 118"/>
                <a:gd name="T42" fmla="*/ 61 w 63"/>
                <a:gd name="T43" fmla="*/ 43 h 118"/>
                <a:gd name="T44" fmla="*/ 57 w 63"/>
                <a:gd name="T45" fmla="*/ 52 h 118"/>
                <a:gd name="T46" fmla="*/ 49 w 63"/>
                <a:gd name="T47" fmla="*/ 68 h 118"/>
                <a:gd name="T48" fmla="*/ 45 w 63"/>
                <a:gd name="T49" fmla="*/ 83 h 118"/>
                <a:gd name="T50" fmla="*/ 48 w 63"/>
                <a:gd name="T51" fmla="*/ 102 h 118"/>
                <a:gd name="T52" fmla="*/ 49 w 63"/>
                <a:gd name="T53" fmla="*/ 112 h 118"/>
                <a:gd name="T54" fmla="*/ 41 w 63"/>
                <a:gd name="T55" fmla="*/ 113 h 118"/>
                <a:gd name="T56" fmla="*/ 29 w 63"/>
                <a:gd name="T57" fmla="*/ 115 h 118"/>
                <a:gd name="T58" fmla="*/ 18 w 63"/>
                <a:gd name="T59" fmla="*/ 111 h 118"/>
                <a:gd name="T60" fmla="*/ 14 w 63"/>
                <a:gd name="T61" fmla="*/ 97 h 118"/>
                <a:gd name="T62" fmla="*/ 12 w 63"/>
                <a:gd name="T63" fmla="*/ 84 h 118"/>
                <a:gd name="T64" fmla="*/ 2 w 63"/>
                <a:gd name="T65" fmla="*/ 70 h 118"/>
                <a:gd name="T66" fmla="*/ 0 w 63"/>
                <a:gd name="T67" fmla="*/ 6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118">
                  <a:moveTo>
                    <a:pt x="0" y="65"/>
                  </a:moveTo>
                  <a:cubicBezTo>
                    <a:pt x="2" y="63"/>
                    <a:pt x="4" y="61"/>
                    <a:pt x="7" y="61"/>
                  </a:cubicBezTo>
                  <a:cubicBezTo>
                    <a:pt x="14" y="60"/>
                    <a:pt x="16" y="58"/>
                    <a:pt x="17" y="58"/>
                  </a:cubicBezTo>
                  <a:cubicBezTo>
                    <a:pt x="17" y="57"/>
                    <a:pt x="21" y="55"/>
                    <a:pt x="21" y="55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7" y="54"/>
                    <a:pt x="29" y="50"/>
                  </a:cubicBezTo>
                  <a:cubicBezTo>
                    <a:pt x="32" y="46"/>
                    <a:pt x="44" y="40"/>
                    <a:pt x="44" y="4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29"/>
                    <a:pt x="34" y="27"/>
                  </a:cubicBezTo>
                  <a:cubicBezTo>
                    <a:pt x="32" y="25"/>
                    <a:pt x="28" y="21"/>
                    <a:pt x="28" y="21"/>
                  </a:cubicBezTo>
                  <a:cubicBezTo>
                    <a:pt x="28" y="21"/>
                    <a:pt x="31" y="19"/>
                    <a:pt x="29" y="17"/>
                  </a:cubicBezTo>
                  <a:cubicBezTo>
                    <a:pt x="28" y="14"/>
                    <a:pt x="27" y="11"/>
                    <a:pt x="28" y="11"/>
                  </a:cubicBezTo>
                  <a:cubicBezTo>
                    <a:pt x="29" y="11"/>
                    <a:pt x="33" y="11"/>
                    <a:pt x="33" y="10"/>
                  </a:cubicBezTo>
                  <a:cubicBezTo>
                    <a:pt x="33" y="8"/>
                    <a:pt x="34" y="3"/>
                    <a:pt x="35" y="3"/>
                  </a:cubicBezTo>
                  <a:cubicBezTo>
                    <a:pt x="37" y="3"/>
                    <a:pt x="40" y="6"/>
                    <a:pt x="43" y="4"/>
                  </a:cubicBezTo>
                  <a:cubicBezTo>
                    <a:pt x="44" y="3"/>
                    <a:pt x="46" y="1"/>
                    <a:pt x="49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0" y="19"/>
                    <a:pt x="60" y="20"/>
                    <a:pt x="60" y="24"/>
                  </a:cubicBezTo>
                  <a:cubicBezTo>
                    <a:pt x="61" y="29"/>
                    <a:pt x="62" y="39"/>
                    <a:pt x="61" y="43"/>
                  </a:cubicBezTo>
                  <a:cubicBezTo>
                    <a:pt x="61" y="48"/>
                    <a:pt x="63" y="48"/>
                    <a:pt x="57" y="52"/>
                  </a:cubicBezTo>
                  <a:cubicBezTo>
                    <a:pt x="50" y="56"/>
                    <a:pt x="49" y="63"/>
                    <a:pt x="49" y="68"/>
                  </a:cubicBezTo>
                  <a:cubicBezTo>
                    <a:pt x="49" y="73"/>
                    <a:pt x="45" y="78"/>
                    <a:pt x="45" y="83"/>
                  </a:cubicBezTo>
                  <a:cubicBezTo>
                    <a:pt x="45" y="87"/>
                    <a:pt x="48" y="95"/>
                    <a:pt x="48" y="102"/>
                  </a:cubicBezTo>
                  <a:cubicBezTo>
                    <a:pt x="48" y="106"/>
                    <a:pt x="49" y="109"/>
                    <a:pt x="49" y="112"/>
                  </a:cubicBezTo>
                  <a:cubicBezTo>
                    <a:pt x="46" y="113"/>
                    <a:pt x="43" y="113"/>
                    <a:pt x="41" y="113"/>
                  </a:cubicBezTo>
                  <a:cubicBezTo>
                    <a:pt x="35" y="113"/>
                    <a:pt x="31" y="113"/>
                    <a:pt x="29" y="115"/>
                  </a:cubicBezTo>
                  <a:cubicBezTo>
                    <a:pt x="26" y="118"/>
                    <a:pt x="20" y="114"/>
                    <a:pt x="18" y="111"/>
                  </a:cubicBezTo>
                  <a:cubicBezTo>
                    <a:pt x="16" y="107"/>
                    <a:pt x="14" y="100"/>
                    <a:pt x="14" y="97"/>
                  </a:cubicBezTo>
                  <a:cubicBezTo>
                    <a:pt x="14" y="94"/>
                    <a:pt x="13" y="88"/>
                    <a:pt x="12" y="84"/>
                  </a:cubicBezTo>
                  <a:cubicBezTo>
                    <a:pt x="12" y="80"/>
                    <a:pt x="3" y="74"/>
                    <a:pt x="2" y="70"/>
                  </a:cubicBezTo>
                  <a:cubicBezTo>
                    <a:pt x="1" y="68"/>
                    <a:pt x="0" y="67"/>
                    <a:pt x="0" y="65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00" name="Р.Алтай">
              <a:extLst>
                <a:ext uri="{FF2B5EF4-FFF2-40B4-BE49-F238E27FC236}">
                  <a16:creationId xmlns:a16="http://schemas.microsoft.com/office/drawing/2014/main" id="{50665F87-0C53-59F7-3DD4-12E1F4C85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658" y="5889493"/>
              <a:ext cx="559343" cy="482798"/>
            </a:xfrm>
            <a:custGeom>
              <a:avLst/>
              <a:gdLst>
                <a:gd name="T0" fmla="*/ 1 w 105"/>
                <a:gd name="T1" fmla="*/ 57 h 102"/>
                <a:gd name="T2" fmla="*/ 0 w 105"/>
                <a:gd name="T3" fmla="*/ 65 h 102"/>
                <a:gd name="T4" fmla="*/ 8 w 105"/>
                <a:gd name="T5" fmla="*/ 69 h 102"/>
                <a:gd name="T6" fmla="*/ 16 w 105"/>
                <a:gd name="T7" fmla="*/ 78 h 102"/>
                <a:gd name="T8" fmla="*/ 18 w 105"/>
                <a:gd name="T9" fmla="*/ 86 h 102"/>
                <a:gd name="T10" fmla="*/ 29 w 105"/>
                <a:gd name="T11" fmla="*/ 88 h 102"/>
                <a:gd name="T12" fmla="*/ 38 w 105"/>
                <a:gd name="T13" fmla="*/ 88 h 102"/>
                <a:gd name="T14" fmla="*/ 46 w 105"/>
                <a:gd name="T15" fmla="*/ 82 h 102"/>
                <a:gd name="T16" fmla="*/ 46 w 105"/>
                <a:gd name="T17" fmla="*/ 88 h 102"/>
                <a:gd name="T18" fmla="*/ 52 w 105"/>
                <a:gd name="T19" fmla="*/ 95 h 102"/>
                <a:gd name="T20" fmla="*/ 62 w 105"/>
                <a:gd name="T21" fmla="*/ 102 h 102"/>
                <a:gd name="T22" fmla="*/ 72 w 105"/>
                <a:gd name="T23" fmla="*/ 99 h 102"/>
                <a:gd name="T24" fmla="*/ 79 w 105"/>
                <a:gd name="T25" fmla="*/ 92 h 102"/>
                <a:gd name="T26" fmla="*/ 91 w 105"/>
                <a:gd name="T27" fmla="*/ 92 h 102"/>
                <a:gd name="T28" fmla="*/ 104 w 105"/>
                <a:gd name="T29" fmla="*/ 85 h 102"/>
                <a:gd name="T30" fmla="*/ 104 w 105"/>
                <a:gd name="T31" fmla="*/ 80 h 102"/>
                <a:gd name="T32" fmla="*/ 102 w 105"/>
                <a:gd name="T33" fmla="*/ 78 h 102"/>
                <a:gd name="T34" fmla="*/ 96 w 105"/>
                <a:gd name="T35" fmla="*/ 71 h 102"/>
                <a:gd name="T36" fmla="*/ 105 w 105"/>
                <a:gd name="T37" fmla="*/ 67 h 102"/>
                <a:gd name="T38" fmla="*/ 105 w 105"/>
                <a:gd name="T39" fmla="*/ 62 h 102"/>
                <a:gd name="T40" fmla="*/ 93 w 105"/>
                <a:gd name="T41" fmla="*/ 49 h 102"/>
                <a:gd name="T42" fmla="*/ 91 w 105"/>
                <a:gd name="T43" fmla="*/ 33 h 102"/>
                <a:gd name="T44" fmla="*/ 85 w 105"/>
                <a:gd name="T45" fmla="*/ 33 h 102"/>
                <a:gd name="T46" fmla="*/ 82 w 105"/>
                <a:gd name="T47" fmla="*/ 41 h 102"/>
                <a:gd name="T48" fmla="*/ 76 w 105"/>
                <a:gd name="T49" fmla="*/ 40 h 102"/>
                <a:gd name="T50" fmla="*/ 70 w 105"/>
                <a:gd name="T51" fmla="*/ 34 h 102"/>
                <a:gd name="T52" fmla="*/ 73 w 105"/>
                <a:gd name="T53" fmla="*/ 31 h 102"/>
                <a:gd name="T54" fmla="*/ 73 w 105"/>
                <a:gd name="T55" fmla="*/ 24 h 102"/>
                <a:gd name="T56" fmla="*/ 81 w 105"/>
                <a:gd name="T57" fmla="*/ 14 h 102"/>
                <a:gd name="T58" fmla="*/ 81 w 105"/>
                <a:gd name="T59" fmla="*/ 9 h 102"/>
                <a:gd name="T60" fmla="*/ 76 w 105"/>
                <a:gd name="T61" fmla="*/ 8 h 102"/>
                <a:gd name="T62" fmla="*/ 69 w 105"/>
                <a:gd name="T63" fmla="*/ 4 h 102"/>
                <a:gd name="T64" fmla="*/ 63 w 105"/>
                <a:gd name="T65" fmla="*/ 5 h 102"/>
                <a:gd name="T66" fmla="*/ 57 w 105"/>
                <a:gd name="T67" fmla="*/ 0 h 102"/>
                <a:gd name="T68" fmla="*/ 50 w 105"/>
                <a:gd name="T69" fmla="*/ 5 h 102"/>
                <a:gd name="T70" fmla="*/ 54 w 105"/>
                <a:gd name="T71" fmla="*/ 11 h 102"/>
                <a:gd name="T72" fmla="*/ 48 w 105"/>
                <a:gd name="T73" fmla="*/ 18 h 102"/>
                <a:gd name="T74" fmla="*/ 43 w 105"/>
                <a:gd name="T75" fmla="*/ 20 h 102"/>
                <a:gd name="T76" fmla="*/ 38 w 105"/>
                <a:gd name="T77" fmla="*/ 16 h 102"/>
                <a:gd name="T78" fmla="*/ 34 w 105"/>
                <a:gd name="T79" fmla="*/ 19 h 102"/>
                <a:gd name="T80" fmla="*/ 33 w 105"/>
                <a:gd name="T81" fmla="*/ 26 h 102"/>
                <a:gd name="T82" fmla="*/ 24 w 105"/>
                <a:gd name="T83" fmla="*/ 34 h 102"/>
                <a:gd name="T84" fmla="*/ 17 w 105"/>
                <a:gd name="T85" fmla="*/ 34 h 102"/>
                <a:gd name="T86" fmla="*/ 0 w 105"/>
                <a:gd name="T87" fmla="*/ 41 h 102"/>
                <a:gd name="T88" fmla="*/ 7 w 105"/>
                <a:gd name="T89" fmla="*/ 49 h 102"/>
                <a:gd name="T90" fmla="*/ 9 w 105"/>
                <a:gd name="T91" fmla="*/ 56 h 102"/>
                <a:gd name="T92" fmla="*/ 1 w 105"/>
                <a:gd name="T93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5" h="102">
                  <a:moveTo>
                    <a:pt x="1" y="57"/>
                  </a:moveTo>
                  <a:cubicBezTo>
                    <a:pt x="1" y="61"/>
                    <a:pt x="0" y="64"/>
                    <a:pt x="0" y="65"/>
                  </a:cubicBezTo>
                  <a:cubicBezTo>
                    <a:pt x="0" y="67"/>
                    <a:pt x="6" y="67"/>
                    <a:pt x="8" y="69"/>
                  </a:cubicBezTo>
                  <a:cubicBezTo>
                    <a:pt x="11" y="71"/>
                    <a:pt x="15" y="74"/>
                    <a:pt x="16" y="78"/>
                  </a:cubicBezTo>
                  <a:cubicBezTo>
                    <a:pt x="16" y="81"/>
                    <a:pt x="18" y="86"/>
                    <a:pt x="18" y="86"/>
                  </a:cubicBezTo>
                  <a:cubicBezTo>
                    <a:pt x="18" y="86"/>
                    <a:pt x="28" y="86"/>
                    <a:pt x="29" y="88"/>
                  </a:cubicBezTo>
                  <a:cubicBezTo>
                    <a:pt x="30" y="89"/>
                    <a:pt x="36" y="91"/>
                    <a:pt x="38" y="88"/>
                  </a:cubicBezTo>
                  <a:cubicBezTo>
                    <a:pt x="40" y="85"/>
                    <a:pt x="45" y="81"/>
                    <a:pt x="46" y="82"/>
                  </a:cubicBezTo>
                  <a:cubicBezTo>
                    <a:pt x="46" y="83"/>
                    <a:pt x="46" y="86"/>
                    <a:pt x="46" y="88"/>
                  </a:cubicBezTo>
                  <a:cubicBezTo>
                    <a:pt x="46" y="89"/>
                    <a:pt x="50" y="92"/>
                    <a:pt x="52" y="95"/>
                  </a:cubicBezTo>
                  <a:cubicBezTo>
                    <a:pt x="54" y="98"/>
                    <a:pt x="58" y="102"/>
                    <a:pt x="62" y="102"/>
                  </a:cubicBezTo>
                  <a:cubicBezTo>
                    <a:pt x="65" y="102"/>
                    <a:pt x="71" y="101"/>
                    <a:pt x="72" y="99"/>
                  </a:cubicBezTo>
                  <a:cubicBezTo>
                    <a:pt x="74" y="96"/>
                    <a:pt x="76" y="92"/>
                    <a:pt x="79" y="92"/>
                  </a:cubicBezTo>
                  <a:cubicBezTo>
                    <a:pt x="83" y="92"/>
                    <a:pt x="87" y="92"/>
                    <a:pt x="91" y="92"/>
                  </a:cubicBezTo>
                  <a:cubicBezTo>
                    <a:pt x="94" y="92"/>
                    <a:pt x="104" y="87"/>
                    <a:pt x="104" y="85"/>
                  </a:cubicBezTo>
                  <a:cubicBezTo>
                    <a:pt x="104" y="84"/>
                    <a:pt x="104" y="82"/>
                    <a:pt x="104" y="80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9" y="56"/>
                    <a:pt x="9" y="56"/>
                    <a:pt x="9" y="56"/>
                  </a:cubicBezTo>
                  <a:lnTo>
                    <a:pt x="1" y="5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19" name="Р.Бурятия">
              <a:extLst>
                <a:ext uri="{FF2B5EF4-FFF2-40B4-BE49-F238E27FC236}">
                  <a16:creationId xmlns:a16="http://schemas.microsoft.com/office/drawing/2014/main" id="{0DA48408-5947-630B-F2BA-8F5D37637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292" y="4901125"/>
              <a:ext cx="1545215" cy="1225212"/>
            </a:xfrm>
            <a:custGeom>
              <a:avLst/>
              <a:gdLst>
                <a:gd name="T0" fmla="*/ 23 w 290"/>
                <a:gd name="T1" fmla="*/ 178 h 258"/>
                <a:gd name="T2" fmla="*/ 28 w 290"/>
                <a:gd name="T3" fmla="*/ 185 h 258"/>
                <a:gd name="T4" fmla="*/ 45 w 290"/>
                <a:gd name="T5" fmla="*/ 192 h 258"/>
                <a:gd name="T6" fmla="*/ 67 w 290"/>
                <a:gd name="T7" fmla="*/ 202 h 258"/>
                <a:gd name="T8" fmla="*/ 85 w 290"/>
                <a:gd name="T9" fmla="*/ 210 h 258"/>
                <a:gd name="T10" fmla="*/ 97 w 290"/>
                <a:gd name="T11" fmla="*/ 222 h 258"/>
                <a:gd name="T12" fmla="*/ 107 w 290"/>
                <a:gd name="T13" fmla="*/ 223 h 258"/>
                <a:gd name="T14" fmla="*/ 113 w 290"/>
                <a:gd name="T15" fmla="*/ 212 h 258"/>
                <a:gd name="T16" fmla="*/ 133 w 290"/>
                <a:gd name="T17" fmla="*/ 184 h 258"/>
                <a:gd name="T18" fmla="*/ 161 w 290"/>
                <a:gd name="T19" fmla="*/ 129 h 258"/>
                <a:gd name="T20" fmla="*/ 157 w 290"/>
                <a:gd name="T21" fmla="*/ 110 h 258"/>
                <a:gd name="T22" fmla="*/ 158 w 290"/>
                <a:gd name="T23" fmla="*/ 69 h 258"/>
                <a:gd name="T24" fmla="*/ 146 w 290"/>
                <a:gd name="T25" fmla="*/ 51 h 258"/>
                <a:gd name="T26" fmla="*/ 161 w 290"/>
                <a:gd name="T27" fmla="*/ 48 h 258"/>
                <a:gd name="T28" fmla="*/ 166 w 290"/>
                <a:gd name="T29" fmla="*/ 38 h 258"/>
                <a:gd name="T30" fmla="*/ 182 w 290"/>
                <a:gd name="T31" fmla="*/ 37 h 258"/>
                <a:gd name="T32" fmla="*/ 186 w 290"/>
                <a:gd name="T33" fmla="*/ 25 h 258"/>
                <a:gd name="T34" fmla="*/ 198 w 290"/>
                <a:gd name="T35" fmla="*/ 32 h 258"/>
                <a:gd name="T36" fmla="*/ 206 w 290"/>
                <a:gd name="T37" fmla="*/ 32 h 258"/>
                <a:gd name="T38" fmla="*/ 219 w 290"/>
                <a:gd name="T39" fmla="*/ 26 h 258"/>
                <a:gd name="T40" fmla="*/ 232 w 290"/>
                <a:gd name="T41" fmla="*/ 25 h 258"/>
                <a:gd name="T42" fmla="*/ 236 w 290"/>
                <a:gd name="T43" fmla="*/ 13 h 258"/>
                <a:gd name="T44" fmla="*/ 249 w 290"/>
                <a:gd name="T45" fmla="*/ 0 h 258"/>
                <a:gd name="T46" fmla="*/ 250 w 290"/>
                <a:gd name="T47" fmla="*/ 11 h 258"/>
                <a:gd name="T48" fmla="*/ 255 w 290"/>
                <a:gd name="T49" fmla="*/ 23 h 258"/>
                <a:gd name="T50" fmla="*/ 265 w 290"/>
                <a:gd name="T51" fmla="*/ 40 h 258"/>
                <a:gd name="T52" fmla="*/ 273 w 290"/>
                <a:gd name="T53" fmla="*/ 50 h 258"/>
                <a:gd name="T54" fmla="*/ 289 w 290"/>
                <a:gd name="T55" fmla="*/ 59 h 258"/>
                <a:gd name="T56" fmla="*/ 288 w 290"/>
                <a:gd name="T57" fmla="*/ 75 h 258"/>
                <a:gd name="T58" fmla="*/ 265 w 290"/>
                <a:gd name="T59" fmla="*/ 99 h 258"/>
                <a:gd name="T60" fmla="*/ 255 w 290"/>
                <a:gd name="T61" fmla="*/ 114 h 258"/>
                <a:gd name="T62" fmla="*/ 266 w 290"/>
                <a:gd name="T63" fmla="*/ 129 h 258"/>
                <a:gd name="T64" fmla="*/ 252 w 290"/>
                <a:gd name="T65" fmla="*/ 153 h 258"/>
                <a:gd name="T66" fmla="*/ 233 w 290"/>
                <a:gd name="T67" fmla="*/ 170 h 258"/>
                <a:gd name="T68" fmla="*/ 221 w 290"/>
                <a:gd name="T69" fmla="*/ 190 h 258"/>
                <a:gd name="T70" fmla="*/ 195 w 290"/>
                <a:gd name="T71" fmla="*/ 200 h 258"/>
                <a:gd name="T72" fmla="*/ 184 w 290"/>
                <a:gd name="T73" fmla="*/ 208 h 258"/>
                <a:gd name="T74" fmla="*/ 184 w 290"/>
                <a:gd name="T75" fmla="*/ 229 h 258"/>
                <a:gd name="T76" fmla="*/ 182 w 290"/>
                <a:gd name="T77" fmla="*/ 237 h 258"/>
                <a:gd name="T78" fmla="*/ 176 w 290"/>
                <a:gd name="T79" fmla="*/ 246 h 258"/>
                <a:gd name="T80" fmla="*/ 156 w 290"/>
                <a:gd name="T81" fmla="*/ 238 h 258"/>
                <a:gd name="T82" fmla="*/ 122 w 290"/>
                <a:gd name="T83" fmla="*/ 245 h 258"/>
                <a:gd name="T84" fmla="*/ 102 w 290"/>
                <a:gd name="T85" fmla="*/ 257 h 258"/>
                <a:gd name="T86" fmla="*/ 73 w 290"/>
                <a:gd name="T87" fmla="*/ 243 h 258"/>
                <a:gd name="T88" fmla="*/ 58 w 290"/>
                <a:gd name="T89" fmla="*/ 225 h 258"/>
                <a:gd name="T90" fmla="*/ 35 w 290"/>
                <a:gd name="T91" fmla="*/ 219 h 258"/>
                <a:gd name="T92" fmla="*/ 11 w 290"/>
                <a:gd name="T93" fmla="*/ 215 h 258"/>
                <a:gd name="T94" fmla="*/ 0 w 290"/>
                <a:gd name="T95" fmla="*/ 205 h 258"/>
                <a:gd name="T96" fmla="*/ 9 w 290"/>
                <a:gd name="T97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258">
                  <a:moveTo>
                    <a:pt x="9" y="191"/>
                  </a:moveTo>
                  <a:cubicBezTo>
                    <a:pt x="23" y="178"/>
                    <a:pt x="23" y="178"/>
                    <a:pt x="23" y="178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36" y="191"/>
                    <a:pt x="36" y="191"/>
                    <a:pt x="36" y="191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7" y="202"/>
                    <a:pt x="67" y="202"/>
                    <a:pt x="67" y="202"/>
                  </a:cubicBezTo>
                  <a:cubicBezTo>
                    <a:pt x="77" y="211"/>
                    <a:pt x="77" y="211"/>
                    <a:pt x="77" y="211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97" y="222"/>
                    <a:pt x="97" y="222"/>
                    <a:pt x="97" y="222"/>
                  </a:cubicBezTo>
                  <a:cubicBezTo>
                    <a:pt x="102" y="228"/>
                    <a:pt x="102" y="228"/>
                    <a:pt x="102" y="228"/>
                  </a:cubicBezTo>
                  <a:cubicBezTo>
                    <a:pt x="107" y="223"/>
                    <a:pt x="107" y="223"/>
                    <a:pt x="107" y="223"/>
                  </a:cubicBezTo>
                  <a:cubicBezTo>
                    <a:pt x="112" y="223"/>
                    <a:pt x="112" y="223"/>
                    <a:pt x="112" y="223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30" y="194"/>
                    <a:pt x="130" y="194"/>
                    <a:pt x="130" y="19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198" y="32"/>
                    <a:pt x="198" y="32"/>
                    <a:pt x="198" y="32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8" y="25"/>
                    <a:pt x="238" y="25"/>
                    <a:pt x="238" y="25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44" y="6"/>
                    <a:pt x="244" y="6"/>
                    <a:pt x="244" y="6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48" y="19"/>
                    <a:pt x="248" y="19"/>
                    <a:pt x="248" y="19"/>
                  </a:cubicBezTo>
                  <a:cubicBezTo>
                    <a:pt x="255" y="23"/>
                    <a:pt x="255" y="23"/>
                    <a:pt x="255" y="23"/>
                  </a:cubicBezTo>
                  <a:cubicBezTo>
                    <a:pt x="258" y="33"/>
                    <a:pt x="258" y="33"/>
                    <a:pt x="258" y="33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73" y="50"/>
                    <a:pt x="273" y="50"/>
                    <a:pt x="273" y="50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88" y="75"/>
                    <a:pt x="288" y="75"/>
                    <a:pt x="288" y="75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265" y="99"/>
                    <a:pt x="265" y="99"/>
                    <a:pt x="265" y="99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55" y="114"/>
                    <a:pt x="255" y="114"/>
                    <a:pt x="255" y="114"/>
                  </a:cubicBezTo>
                  <a:cubicBezTo>
                    <a:pt x="261" y="123"/>
                    <a:pt x="261" y="123"/>
                    <a:pt x="261" y="123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5" y="139"/>
                    <a:pt x="265" y="139"/>
                    <a:pt x="265" y="139"/>
                  </a:cubicBezTo>
                  <a:cubicBezTo>
                    <a:pt x="252" y="153"/>
                    <a:pt x="252" y="153"/>
                    <a:pt x="252" y="15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3" y="170"/>
                    <a:pt x="233" y="170"/>
                    <a:pt x="233" y="170"/>
                  </a:cubicBezTo>
                  <a:cubicBezTo>
                    <a:pt x="224" y="178"/>
                    <a:pt x="224" y="178"/>
                    <a:pt x="224" y="178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84" y="200"/>
                    <a:pt x="184" y="200"/>
                    <a:pt x="184" y="200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91" y="229"/>
                    <a:pt x="191" y="229"/>
                    <a:pt x="191" y="229"/>
                  </a:cubicBezTo>
                  <a:cubicBezTo>
                    <a:pt x="182" y="237"/>
                    <a:pt x="182" y="237"/>
                    <a:pt x="182" y="237"/>
                  </a:cubicBezTo>
                  <a:cubicBezTo>
                    <a:pt x="181" y="244"/>
                    <a:pt x="181" y="244"/>
                    <a:pt x="181" y="244"/>
                  </a:cubicBezTo>
                  <a:cubicBezTo>
                    <a:pt x="180" y="243"/>
                    <a:pt x="177" y="245"/>
                    <a:pt x="176" y="246"/>
                  </a:cubicBezTo>
                  <a:cubicBezTo>
                    <a:pt x="173" y="247"/>
                    <a:pt x="165" y="248"/>
                    <a:pt x="164" y="244"/>
                  </a:cubicBezTo>
                  <a:cubicBezTo>
                    <a:pt x="164" y="239"/>
                    <a:pt x="159" y="238"/>
                    <a:pt x="156" y="238"/>
                  </a:cubicBezTo>
                  <a:cubicBezTo>
                    <a:pt x="153" y="237"/>
                    <a:pt x="152" y="244"/>
                    <a:pt x="146" y="241"/>
                  </a:cubicBezTo>
                  <a:cubicBezTo>
                    <a:pt x="139" y="237"/>
                    <a:pt x="127" y="243"/>
                    <a:pt x="122" y="245"/>
                  </a:cubicBezTo>
                  <a:cubicBezTo>
                    <a:pt x="117" y="246"/>
                    <a:pt x="115" y="252"/>
                    <a:pt x="112" y="253"/>
                  </a:cubicBezTo>
                  <a:cubicBezTo>
                    <a:pt x="109" y="253"/>
                    <a:pt x="104" y="258"/>
                    <a:pt x="102" y="257"/>
                  </a:cubicBezTo>
                  <a:cubicBezTo>
                    <a:pt x="100" y="257"/>
                    <a:pt x="86" y="254"/>
                    <a:pt x="80" y="251"/>
                  </a:cubicBezTo>
                  <a:cubicBezTo>
                    <a:pt x="74" y="247"/>
                    <a:pt x="74" y="247"/>
                    <a:pt x="73" y="243"/>
                  </a:cubicBezTo>
                  <a:cubicBezTo>
                    <a:pt x="72" y="239"/>
                    <a:pt x="70" y="234"/>
                    <a:pt x="68" y="228"/>
                  </a:cubicBezTo>
                  <a:cubicBezTo>
                    <a:pt x="67" y="223"/>
                    <a:pt x="63" y="225"/>
                    <a:pt x="58" y="225"/>
                  </a:cubicBezTo>
                  <a:cubicBezTo>
                    <a:pt x="52" y="225"/>
                    <a:pt x="48" y="224"/>
                    <a:pt x="47" y="223"/>
                  </a:cubicBezTo>
                  <a:cubicBezTo>
                    <a:pt x="47" y="222"/>
                    <a:pt x="41" y="219"/>
                    <a:pt x="35" y="219"/>
                  </a:cubicBezTo>
                  <a:cubicBezTo>
                    <a:pt x="29" y="220"/>
                    <a:pt x="27" y="220"/>
                    <a:pt x="22" y="219"/>
                  </a:cubicBezTo>
                  <a:cubicBezTo>
                    <a:pt x="16" y="218"/>
                    <a:pt x="15" y="218"/>
                    <a:pt x="11" y="215"/>
                  </a:cubicBezTo>
                  <a:cubicBezTo>
                    <a:pt x="9" y="213"/>
                    <a:pt x="7" y="214"/>
                    <a:pt x="6" y="21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4" y="198"/>
                    <a:pt x="4" y="198"/>
                    <a:pt x="4" y="198"/>
                  </a:cubicBezTo>
                  <a:lnTo>
                    <a:pt x="9" y="19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20" name="Р.Башкортостан">
              <a:extLst>
                <a:ext uri="{FF2B5EF4-FFF2-40B4-BE49-F238E27FC236}">
                  <a16:creationId xmlns:a16="http://schemas.microsoft.com/office/drawing/2014/main" id="{DDAC07F5-C107-A19E-ED19-68967D73A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406" y="4691608"/>
              <a:ext cx="615533" cy="726473"/>
            </a:xfrm>
            <a:custGeom>
              <a:avLst/>
              <a:gdLst>
                <a:gd name="T0" fmla="*/ 100 w 116"/>
                <a:gd name="T1" fmla="*/ 37 h 153"/>
                <a:gd name="T2" fmla="*/ 110 w 116"/>
                <a:gd name="T3" fmla="*/ 45 h 153"/>
                <a:gd name="T4" fmla="*/ 116 w 116"/>
                <a:gd name="T5" fmla="*/ 49 h 153"/>
                <a:gd name="T6" fmla="*/ 110 w 116"/>
                <a:gd name="T7" fmla="*/ 62 h 153"/>
                <a:gd name="T8" fmla="*/ 99 w 116"/>
                <a:gd name="T9" fmla="*/ 69 h 153"/>
                <a:gd name="T10" fmla="*/ 92 w 116"/>
                <a:gd name="T11" fmla="*/ 61 h 153"/>
                <a:gd name="T12" fmla="*/ 80 w 116"/>
                <a:gd name="T13" fmla="*/ 53 h 153"/>
                <a:gd name="T14" fmla="*/ 70 w 116"/>
                <a:gd name="T15" fmla="*/ 60 h 153"/>
                <a:gd name="T16" fmla="*/ 74 w 116"/>
                <a:gd name="T17" fmla="*/ 77 h 153"/>
                <a:gd name="T18" fmla="*/ 84 w 116"/>
                <a:gd name="T19" fmla="*/ 85 h 153"/>
                <a:gd name="T20" fmla="*/ 91 w 116"/>
                <a:gd name="T21" fmla="*/ 83 h 153"/>
                <a:gd name="T22" fmla="*/ 101 w 116"/>
                <a:gd name="T23" fmla="*/ 88 h 153"/>
                <a:gd name="T24" fmla="*/ 102 w 116"/>
                <a:gd name="T25" fmla="*/ 100 h 153"/>
                <a:gd name="T26" fmla="*/ 94 w 116"/>
                <a:gd name="T27" fmla="*/ 95 h 153"/>
                <a:gd name="T28" fmla="*/ 86 w 116"/>
                <a:gd name="T29" fmla="*/ 100 h 153"/>
                <a:gd name="T30" fmla="*/ 78 w 116"/>
                <a:gd name="T31" fmla="*/ 113 h 153"/>
                <a:gd name="T32" fmla="*/ 73 w 116"/>
                <a:gd name="T33" fmla="*/ 123 h 153"/>
                <a:gd name="T34" fmla="*/ 67 w 116"/>
                <a:gd name="T35" fmla="*/ 131 h 153"/>
                <a:gd name="T36" fmla="*/ 59 w 116"/>
                <a:gd name="T37" fmla="*/ 141 h 153"/>
                <a:gd name="T38" fmla="*/ 48 w 116"/>
                <a:gd name="T39" fmla="*/ 153 h 153"/>
                <a:gd name="T40" fmla="*/ 33 w 116"/>
                <a:gd name="T41" fmla="*/ 149 h 153"/>
                <a:gd name="T42" fmla="*/ 23 w 116"/>
                <a:gd name="T43" fmla="*/ 143 h 153"/>
                <a:gd name="T44" fmla="*/ 21 w 116"/>
                <a:gd name="T45" fmla="*/ 135 h 153"/>
                <a:gd name="T46" fmla="*/ 19 w 116"/>
                <a:gd name="T47" fmla="*/ 128 h 153"/>
                <a:gd name="T48" fmla="*/ 27 w 116"/>
                <a:gd name="T49" fmla="*/ 121 h 153"/>
                <a:gd name="T50" fmla="*/ 21 w 116"/>
                <a:gd name="T51" fmla="*/ 115 h 153"/>
                <a:gd name="T52" fmla="*/ 12 w 116"/>
                <a:gd name="T53" fmla="*/ 114 h 153"/>
                <a:gd name="T54" fmla="*/ 15 w 116"/>
                <a:gd name="T55" fmla="*/ 103 h 153"/>
                <a:gd name="T56" fmla="*/ 13 w 116"/>
                <a:gd name="T57" fmla="*/ 88 h 153"/>
                <a:gd name="T58" fmla="*/ 1 w 116"/>
                <a:gd name="T59" fmla="*/ 73 h 153"/>
                <a:gd name="T60" fmla="*/ 4 w 116"/>
                <a:gd name="T61" fmla="*/ 66 h 153"/>
                <a:gd name="T62" fmla="*/ 0 w 116"/>
                <a:gd name="T63" fmla="*/ 52 h 153"/>
                <a:gd name="T64" fmla="*/ 6 w 116"/>
                <a:gd name="T65" fmla="*/ 41 h 153"/>
                <a:gd name="T66" fmla="*/ 17 w 116"/>
                <a:gd name="T67" fmla="*/ 35 h 153"/>
                <a:gd name="T68" fmla="*/ 24 w 116"/>
                <a:gd name="T69" fmla="*/ 24 h 153"/>
                <a:gd name="T70" fmla="*/ 36 w 116"/>
                <a:gd name="T71" fmla="*/ 17 h 153"/>
                <a:gd name="T72" fmla="*/ 33 w 116"/>
                <a:gd name="T73" fmla="*/ 9 h 153"/>
                <a:gd name="T74" fmla="*/ 56 w 116"/>
                <a:gd name="T75" fmla="*/ 0 h 153"/>
                <a:gd name="T76" fmla="*/ 63 w 116"/>
                <a:gd name="T77" fmla="*/ 10 h 153"/>
                <a:gd name="T78" fmla="*/ 72 w 116"/>
                <a:gd name="T79" fmla="*/ 16 h 153"/>
                <a:gd name="T80" fmla="*/ 81 w 116"/>
                <a:gd name="T81" fmla="*/ 2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53">
                  <a:moveTo>
                    <a:pt x="90" y="27"/>
                  </a:moveTo>
                  <a:cubicBezTo>
                    <a:pt x="100" y="37"/>
                    <a:pt x="100" y="37"/>
                    <a:pt x="100" y="37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6" y="49"/>
                    <a:pt x="113" y="55"/>
                    <a:pt x="112" y="56"/>
                  </a:cubicBezTo>
                  <a:cubicBezTo>
                    <a:pt x="112" y="56"/>
                    <a:pt x="110" y="62"/>
                    <a:pt x="110" y="62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106"/>
                    <a:pt x="79" y="106"/>
                    <a:pt x="79" y="106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1"/>
                    <a:pt x="63" y="137"/>
                    <a:pt x="62" y="137"/>
                  </a:cubicBezTo>
                  <a:cubicBezTo>
                    <a:pt x="62" y="138"/>
                    <a:pt x="60" y="140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5"/>
                    <a:pt x="25" y="131"/>
                    <a:pt x="25" y="130"/>
                  </a:cubicBezTo>
                  <a:cubicBezTo>
                    <a:pt x="26" y="129"/>
                    <a:pt x="19" y="128"/>
                    <a:pt x="19" y="128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26"/>
                    <a:pt x="81" y="26"/>
                    <a:pt x="81" y="26"/>
                  </a:cubicBezTo>
                  <a:lnTo>
                    <a:pt x="90" y="27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21" name="Р.Адыгея">
              <a:extLst>
                <a:ext uri="{FF2B5EF4-FFF2-40B4-BE49-F238E27FC236}">
                  <a16:creationId xmlns:a16="http://schemas.microsoft.com/office/drawing/2014/main" id="{6D565B84-7C0A-0388-9219-67A9B3AFA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485" y="5185785"/>
              <a:ext cx="166015" cy="227734"/>
            </a:xfrm>
            <a:custGeom>
              <a:avLst/>
              <a:gdLst>
                <a:gd name="T0" fmla="*/ 4 w 31"/>
                <a:gd name="T1" fmla="*/ 0 h 48"/>
                <a:gd name="T2" fmla="*/ 5 w 31"/>
                <a:gd name="T3" fmla="*/ 9 h 48"/>
                <a:gd name="T4" fmla="*/ 12 w 31"/>
                <a:gd name="T5" fmla="*/ 14 h 48"/>
                <a:gd name="T6" fmla="*/ 20 w 31"/>
                <a:gd name="T7" fmla="*/ 18 h 48"/>
                <a:gd name="T8" fmla="*/ 14 w 31"/>
                <a:gd name="T9" fmla="*/ 23 h 48"/>
                <a:gd name="T10" fmla="*/ 12 w 31"/>
                <a:gd name="T11" fmla="*/ 31 h 48"/>
                <a:gd name="T12" fmla="*/ 10 w 31"/>
                <a:gd name="T13" fmla="*/ 37 h 48"/>
                <a:gd name="T14" fmla="*/ 0 w 31"/>
                <a:gd name="T15" fmla="*/ 38 h 48"/>
                <a:gd name="T16" fmla="*/ 6 w 31"/>
                <a:gd name="T17" fmla="*/ 48 h 48"/>
                <a:gd name="T18" fmla="*/ 15 w 31"/>
                <a:gd name="T19" fmla="*/ 41 h 48"/>
                <a:gd name="T20" fmla="*/ 26 w 31"/>
                <a:gd name="T21" fmla="*/ 32 h 48"/>
                <a:gd name="T22" fmla="*/ 30 w 31"/>
                <a:gd name="T23" fmla="*/ 26 h 48"/>
                <a:gd name="T24" fmla="*/ 26 w 31"/>
                <a:gd name="T25" fmla="*/ 14 h 48"/>
                <a:gd name="T26" fmla="*/ 19 w 31"/>
                <a:gd name="T27" fmla="*/ 7 h 48"/>
                <a:gd name="T28" fmla="*/ 10 w 31"/>
                <a:gd name="T29" fmla="*/ 2 h 48"/>
                <a:gd name="T30" fmla="*/ 4 w 31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8">
                  <a:moveTo>
                    <a:pt x="4" y="0"/>
                  </a:moveTo>
                  <a:cubicBezTo>
                    <a:pt x="3" y="6"/>
                    <a:pt x="4" y="7"/>
                    <a:pt x="5" y="9"/>
                  </a:cubicBezTo>
                  <a:cubicBezTo>
                    <a:pt x="6" y="12"/>
                    <a:pt x="8" y="13"/>
                    <a:pt x="12" y="14"/>
                  </a:cubicBezTo>
                  <a:cubicBezTo>
                    <a:pt x="16" y="15"/>
                    <a:pt x="21" y="14"/>
                    <a:pt x="20" y="18"/>
                  </a:cubicBezTo>
                  <a:cubicBezTo>
                    <a:pt x="19" y="22"/>
                    <a:pt x="17" y="20"/>
                    <a:pt x="14" y="23"/>
                  </a:cubicBezTo>
                  <a:cubicBezTo>
                    <a:pt x="12" y="26"/>
                    <a:pt x="12" y="30"/>
                    <a:pt x="12" y="31"/>
                  </a:cubicBezTo>
                  <a:cubicBezTo>
                    <a:pt x="13" y="32"/>
                    <a:pt x="15" y="37"/>
                    <a:pt x="10" y="37"/>
                  </a:cubicBezTo>
                  <a:cubicBezTo>
                    <a:pt x="5" y="37"/>
                    <a:pt x="0" y="35"/>
                    <a:pt x="0" y="38"/>
                  </a:cubicBezTo>
                  <a:cubicBezTo>
                    <a:pt x="0" y="40"/>
                    <a:pt x="6" y="48"/>
                    <a:pt x="6" y="48"/>
                  </a:cubicBezTo>
                  <a:cubicBezTo>
                    <a:pt x="6" y="48"/>
                    <a:pt x="13" y="45"/>
                    <a:pt x="15" y="41"/>
                  </a:cubicBezTo>
                  <a:cubicBezTo>
                    <a:pt x="17" y="36"/>
                    <a:pt x="25" y="28"/>
                    <a:pt x="26" y="32"/>
                  </a:cubicBezTo>
                  <a:cubicBezTo>
                    <a:pt x="27" y="35"/>
                    <a:pt x="30" y="31"/>
                    <a:pt x="30" y="26"/>
                  </a:cubicBezTo>
                  <a:cubicBezTo>
                    <a:pt x="31" y="20"/>
                    <a:pt x="31" y="19"/>
                    <a:pt x="26" y="14"/>
                  </a:cubicBezTo>
                  <a:cubicBezTo>
                    <a:pt x="21" y="9"/>
                    <a:pt x="25" y="8"/>
                    <a:pt x="19" y="7"/>
                  </a:cubicBezTo>
                  <a:cubicBezTo>
                    <a:pt x="14" y="6"/>
                    <a:pt x="10" y="4"/>
                    <a:pt x="10" y="2"/>
                  </a:cubicBezTo>
                  <a:cubicBezTo>
                    <a:pt x="10" y="0"/>
                    <a:pt x="4" y="0"/>
                    <a:pt x="4" y="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</p:grpSp>
      <p:sp>
        <p:nvSpPr>
          <p:cNvPr id="322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3)</a:t>
            </a:r>
            <a:endParaRPr dirty="0"/>
          </a:p>
        </p:txBody>
      </p:sp>
      <p:graphicFrame>
        <p:nvGraphicFramePr>
          <p:cNvPr id="323" name="Таблица 322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297660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24" name="TextBox 323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регионам</a:t>
            </a:r>
            <a:endParaRPr lang="ru-RU" sz="1100" dirty="0"/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3775114" y="3954388"/>
            <a:ext cx="367806" cy="307777"/>
            <a:chOff x="3775114" y="3954388"/>
            <a:chExt cx="367806" cy="307777"/>
          </a:xfrm>
        </p:grpSpPr>
        <p:sp>
          <p:nvSpPr>
            <p:cNvPr id="84" name="Блок-схема: ссылка на другую страницу 83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31" name="Группа 330"/>
          <p:cNvGrpSpPr/>
          <p:nvPr/>
        </p:nvGrpSpPr>
        <p:grpSpPr>
          <a:xfrm>
            <a:off x="785911" y="3792931"/>
            <a:ext cx="367806" cy="307777"/>
            <a:chOff x="3775114" y="3954388"/>
            <a:chExt cx="367806" cy="307777"/>
          </a:xfrm>
        </p:grpSpPr>
        <p:sp>
          <p:nvSpPr>
            <p:cNvPr id="332" name="Блок-схема: ссылка на другую страницу 331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3" name="TextBox 332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4</a:t>
              </a:r>
              <a:endParaRPr lang="ru-RU" sz="1400" dirty="0"/>
            </a:p>
          </p:txBody>
        </p:sp>
      </p:grpSp>
      <p:grpSp>
        <p:nvGrpSpPr>
          <p:cNvPr id="334" name="Группа 333"/>
          <p:cNvGrpSpPr/>
          <p:nvPr/>
        </p:nvGrpSpPr>
        <p:grpSpPr>
          <a:xfrm>
            <a:off x="1129412" y="3988182"/>
            <a:ext cx="367806" cy="307777"/>
            <a:chOff x="3775114" y="3954388"/>
            <a:chExt cx="367806" cy="307777"/>
          </a:xfrm>
        </p:grpSpPr>
        <p:sp>
          <p:nvSpPr>
            <p:cNvPr id="335" name="Блок-схема: ссылка на другую страницу 334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6" name="TextBox 335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37" name="Группа 336"/>
          <p:cNvGrpSpPr/>
          <p:nvPr/>
        </p:nvGrpSpPr>
        <p:grpSpPr>
          <a:xfrm>
            <a:off x="1600547" y="4475353"/>
            <a:ext cx="367806" cy="307777"/>
            <a:chOff x="3775114" y="3954388"/>
            <a:chExt cx="367806" cy="307777"/>
          </a:xfrm>
        </p:grpSpPr>
        <p:sp>
          <p:nvSpPr>
            <p:cNvPr id="338" name="Блок-схема: ссылка на другую страницу 337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9" name="TextBox 338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46</a:t>
              </a:r>
              <a:endParaRPr lang="ru-RU" sz="1400" dirty="0"/>
            </a:p>
          </p:txBody>
        </p:sp>
      </p:grpSp>
      <p:grpSp>
        <p:nvGrpSpPr>
          <p:cNvPr id="340" name="Группа 339"/>
          <p:cNvGrpSpPr/>
          <p:nvPr/>
        </p:nvGrpSpPr>
        <p:grpSpPr>
          <a:xfrm>
            <a:off x="434791" y="5115246"/>
            <a:ext cx="367806" cy="307777"/>
            <a:chOff x="3775114" y="3954388"/>
            <a:chExt cx="367806" cy="307777"/>
          </a:xfrm>
        </p:grpSpPr>
        <p:sp>
          <p:nvSpPr>
            <p:cNvPr id="341" name="Блок-схема: ссылка на другую страницу 340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2" name="TextBox 341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43" name="Группа 342"/>
          <p:cNvGrpSpPr/>
          <p:nvPr/>
        </p:nvGrpSpPr>
        <p:grpSpPr>
          <a:xfrm>
            <a:off x="151262" y="4567797"/>
            <a:ext cx="367806" cy="307777"/>
            <a:chOff x="3775114" y="3954388"/>
            <a:chExt cx="367806" cy="307777"/>
          </a:xfrm>
        </p:grpSpPr>
        <p:sp>
          <p:nvSpPr>
            <p:cNvPr id="344" name="Блок-схема: ссылка на другую страницу 343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5" name="TextBox 344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46" name="не удалять" hidden="1"/>
          <p:cNvGrpSpPr/>
          <p:nvPr/>
        </p:nvGrpSpPr>
        <p:grpSpPr>
          <a:xfrm>
            <a:off x="11000237" y="458851"/>
            <a:ext cx="367806" cy="307777"/>
            <a:chOff x="3775114" y="3954388"/>
            <a:chExt cx="367806" cy="307777"/>
          </a:xfrm>
        </p:grpSpPr>
        <p:sp>
          <p:nvSpPr>
            <p:cNvPr id="347" name="Блок-схема: ссылка на другую страницу 346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8" name="TextBox 347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69685381"/>
      </p:ext>
    </p:extLst>
  </p:cSld>
  <p:clrMapOvr>
    <a:masterClrMapping/>
  </p:clrMapOvr>
</p:sld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 Them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_ГТЛК_rus_A4_light</Template>
  <TotalTime>4741</TotalTime>
  <Words>738</Words>
  <Application>Microsoft Office PowerPoint</Application>
  <DocSecurity>0</DocSecurity>
  <PresentationFormat>Широкоэкранный</PresentationFormat>
  <Paragraphs>203</Paragraphs>
  <Slides>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5" baseType="lpstr">
      <vt:lpstr>Arial</vt:lpstr>
      <vt:lpstr>Calibri</vt:lpstr>
      <vt:lpstr>Roboto</vt:lpstr>
      <vt:lpstr>Lato Light</vt:lpstr>
      <vt:lpstr>Supermolot</vt:lpstr>
      <vt:lpstr>Wingdings 2</vt:lpstr>
      <vt:lpstr>Wingdings</vt:lpstr>
      <vt:lpstr>1_Office Theme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Бабенкова Татьяна Анатольевна</dc:creator>
  <cp:keywords/>
  <dc:description/>
  <cp:lastModifiedBy>Иванов Максим Сергеевич</cp:lastModifiedBy>
  <cp:revision>1007</cp:revision>
  <dcterms:created xsi:type="dcterms:W3CDTF">2023-04-27T08:46:45Z</dcterms:created>
  <dcterms:modified xsi:type="dcterms:W3CDTF">2024-09-16T15:44:43Z</dcterms:modified>
  <cp:category/>
  <dc:identifier/>
  <cp:contentStatus/>
  <dc:language/>
  <cp:version/>
</cp:coreProperties>
</file>